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3" r:id="rId6"/>
  </p:sldMasterIdLst>
  <p:notesMasterIdLst>
    <p:notesMasterId r:id="rId12"/>
  </p:notesMasterIdLst>
  <p:sldIdLst>
    <p:sldId id="308" r:id="rId7"/>
    <p:sldId id="302" r:id="rId8"/>
    <p:sldId id="304" r:id="rId9"/>
    <p:sldId id="305" r:id="rId10"/>
    <p:sldId id="306" r:id="rId11"/>
  </p:sldIdLst>
  <p:sldSz cx="10688638" cy="7562850"/>
  <p:notesSz cx="6808788" cy="99409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1pPr>
    <a:lvl2pPr marL="520700" indent="-63500"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2pPr>
    <a:lvl3pPr marL="1041400" indent="-127000"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3pPr>
    <a:lvl4pPr marL="1563688" indent="-192088"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4pPr>
    <a:lvl5pPr marL="2084388" indent="-255588"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5pPr>
    <a:lvl6pPr marL="2286000" algn="l" defTabSz="914400" rtl="0" eaLnBrk="1" latinLnBrk="0" hangingPunct="1"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6pPr>
    <a:lvl7pPr marL="2743200" algn="l" defTabSz="914400" rtl="0" eaLnBrk="1" latinLnBrk="0" hangingPunct="1"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7pPr>
    <a:lvl8pPr marL="3200400" algn="l" defTabSz="914400" rtl="0" eaLnBrk="1" latinLnBrk="0" hangingPunct="1"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8pPr>
    <a:lvl9pPr marL="3657600" algn="l" defTabSz="914400" rtl="0" eaLnBrk="1" latinLnBrk="0" hangingPunct="1"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0088"/>
    <a:srgbClr val="990099"/>
    <a:srgbClr val="8400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CF6A15-8934-4963-8151-6AB78347B446}" v="45" dt="2024-07-03T19:59:58.1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53" autoAdjust="0"/>
    <p:restoredTop sz="94660"/>
  </p:normalViewPr>
  <p:slideViewPr>
    <p:cSldViewPr snapToGrid="0">
      <p:cViewPr varScale="1">
        <p:scale>
          <a:sx n="57" d="100"/>
          <a:sy n="57" d="100"/>
        </p:scale>
        <p:origin x="1196" y="36"/>
      </p:cViewPr>
      <p:guideLst>
        <p:guide orient="horz" pos="2382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EBBB2424-03A8-43FC-BEC3-6FB60681D58E}" type="datetimeFigureOut">
              <a:rPr lang="en-GB"/>
              <a:pPr>
                <a:defRPr/>
              </a:pPr>
              <a:t>02/09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35050" y="1243013"/>
            <a:ext cx="47386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6712" cy="39131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A21D0E7E-34F0-4B52-A0C8-97100ADC3AD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9998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2319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997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2202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59470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158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Template landscape shadow_5_Page_4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88638" cy="760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95342" y="2268541"/>
            <a:ext cx="9085261" cy="1008062"/>
          </a:xfrm>
        </p:spPr>
        <p:txBody>
          <a:bodyPr anchor="t"/>
          <a:lstStyle>
            <a:lvl1pPr>
              <a:defRPr sz="4849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01691" y="3276610"/>
            <a:ext cx="9072561" cy="1931988"/>
          </a:xfrm>
        </p:spPr>
        <p:txBody>
          <a:bodyPr/>
          <a:lstStyle>
            <a:lvl1pPr marL="0" indent="0" eaLnBrk="0" hangingPunct="0">
              <a:buFontTx/>
              <a:buNone/>
              <a:defRPr sz="2425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48102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4832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50180" y="303267"/>
            <a:ext cx="2403475" cy="59261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994" y="303267"/>
            <a:ext cx="7062787" cy="59261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4429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-107007"/>
            <a:ext cx="9802428" cy="1260476"/>
          </a:xfrm>
          <a:prstGeom prst="rect">
            <a:avLst/>
          </a:prstGeom>
        </p:spPr>
        <p:txBody>
          <a:bodyPr/>
          <a:lstStyle>
            <a:lvl1pPr>
              <a:defRPr sz="3417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41249" y="1189143"/>
            <a:ext cx="9781336" cy="4609488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7548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2870"/>
            <a:ext cx="9619774" cy="12604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4434" y="1764717"/>
            <a:ext cx="4720815" cy="4991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392" y="1764717"/>
            <a:ext cx="4720815" cy="4991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534988" y="6886575"/>
            <a:ext cx="2493962" cy="525463"/>
          </a:xfrm>
          <a:prstGeom prst="rect">
            <a:avLst/>
          </a:prstGeom>
        </p:spPr>
        <p:txBody>
          <a:bodyPr lIns="90881" tIns="45434" rIns="90881" bIns="45434"/>
          <a:lstStyle>
            <a:lvl1pPr defTabSz="1001778">
              <a:defRPr sz="2094">
                <a:solidFill>
                  <a:prstClr val="black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1250" y="6886575"/>
            <a:ext cx="3386138" cy="525463"/>
          </a:xfrm>
          <a:prstGeom prst="rect">
            <a:avLst/>
          </a:prstGeom>
        </p:spPr>
        <p:txBody>
          <a:bodyPr lIns="90881" tIns="45434" rIns="90881" bIns="45434"/>
          <a:lstStyle>
            <a:lvl1pPr defTabSz="1001778">
              <a:defRPr sz="2094">
                <a:solidFill>
                  <a:prstClr val="black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>
              <a:defRPr>
                <a:ea typeface="ヒラギノ角ゴ Pro W3" charset="-128"/>
              </a:defRPr>
            </a:lvl1pPr>
          </a:lstStyle>
          <a:p>
            <a:pPr>
              <a:defRPr/>
            </a:pPr>
            <a:fld id="{573F1ED8-AF2A-44F6-A99A-83E0C0504D8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44892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534988" y="6883400"/>
            <a:ext cx="9618662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984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8217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93736" y="709762"/>
            <a:ext cx="9500131" cy="612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93735" y="1475098"/>
            <a:ext cx="4677866" cy="53287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6205" y="1475098"/>
            <a:ext cx="4679452" cy="53287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 bwMode="gray">
          <a:xfrm>
            <a:off x="3586163" y="7053263"/>
            <a:ext cx="5929312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 bwMode="gray">
          <a:xfrm>
            <a:off x="9609138" y="7053263"/>
            <a:ext cx="485775" cy="144462"/>
          </a:xfrm>
        </p:spPr>
        <p:txBody>
          <a:bodyPr/>
          <a:lstStyle>
            <a:lvl1pPr defTabSz="914400">
              <a:defRPr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>
              <a:defRPr/>
            </a:pPr>
            <a:fld id="{32022ADC-2C37-4197-9403-D0275F4FA74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1992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 descr="Template landscape shadow_5_Page_5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535045" y="-34998"/>
            <a:ext cx="9618663" cy="1260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535045" y="1261151"/>
            <a:ext cx="9618663" cy="446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1655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4" y="4859393"/>
            <a:ext cx="9085262" cy="1501775"/>
          </a:xfrm>
        </p:spPr>
        <p:txBody>
          <a:bodyPr anchor="t"/>
          <a:lstStyle>
            <a:lvl1pPr algn="l">
              <a:defRPr sz="3857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554" y="3205164"/>
            <a:ext cx="9085262" cy="1654175"/>
          </a:xfrm>
        </p:spPr>
        <p:txBody>
          <a:bodyPr anchor="b"/>
          <a:lstStyle>
            <a:lvl1pPr marL="0" indent="0">
              <a:buNone/>
              <a:defRPr sz="2094"/>
            </a:lvl1pPr>
            <a:lvl2pPr marL="439058" indent="0">
              <a:buNone/>
              <a:defRPr sz="1763"/>
            </a:lvl2pPr>
            <a:lvl3pPr marL="878150" indent="0">
              <a:buNone/>
              <a:defRPr sz="1543"/>
            </a:lvl3pPr>
            <a:lvl4pPr marL="1317226" indent="0">
              <a:buNone/>
              <a:defRPr sz="1322"/>
            </a:lvl4pPr>
            <a:lvl5pPr marL="1756303" indent="0">
              <a:buNone/>
              <a:defRPr sz="1322"/>
            </a:lvl5pPr>
            <a:lvl6pPr marL="2195384" indent="0">
              <a:buNone/>
              <a:defRPr sz="1322"/>
            </a:lvl6pPr>
            <a:lvl7pPr marL="2634460" indent="0">
              <a:buNone/>
              <a:defRPr sz="1322"/>
            </a:lvl7pPr>
            <a:lvl8pPr marL="3073541" indent="0">
              <a:buNone/>
              <a:defRPr sz="1322"/>
            </a:lvl8pPr>
            <a:lvl9pPr marL="3512618" indent="0">
              <a:buNone/>
              <a:defRPr sz="132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8378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5043" y="1765309"/>
            <a:ext cx="4732338" cy="4464050"/>
          </a:xfrm>
        </p:spPr>
        <p:txBody>
          <a:bodyPr/>
          <a:lstStyle>
            <a:lvl1pPr>
              <a:defRPr sz="1322"/>
            </a:lvl1pPr>
            <a:lvl2pPr>
              <a:defRPr sz="1322"/>
            </a:lvl2pPr>
            <a:lvl3pPr>
              <a:defRPr sz="1322"/>
            </a:lvl3pPr>
            <a:lvl4pPr>
              <a:defRPr sz="1322"/>
            </a:lvl4pPr>
            <a:lvl5pPr>
              <a:defRPr sz="1322"/>
            </a:lvl5pPr>
            <a:lvl6pPr>
              <a:defRPr sz="1763"/>
            </a:lvl6pPr>
            <a:lvl7pPr>
              <a:defRPr sz="1763"/>
            </a:lvl7pPr>
            <a:lvl8pPr>
              <a:defRPr sz="1763"/>
            </a:lvl8pPr>
            <a:lvl9pPr>
              <a:defRPr sz="176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9783" y="1765309"/>
            <a:ext cx="4733925" cy="4464050"/>
          </a:xfrm>
        </p:spPr>
        <p:txBody>
          <a:bodyPr/>
          <a:lstStyle>
            <a:lvl1pPr>
              <a:defRPr sz="1322"/>
            </a:lvl1pPr>
            <a:lvl2pPr>
              <a:defRPr sz="1322"/>
            </a:lvl2pPr>
            <a:lvl3pPr>
              <a:defRPr sz="1322"/>
            </a:lvl3pPr>
            <a:lvl4pPr>
              <a:defRPr sz="1322"/>
            </a:lvl4pPr>
            <a:lvl5pPr>
              <a:defRPr sz="1322"/>
            </a:lvl5pPr>
            <a:lvl6pPr>
              <a:defRPr sz="1763"/>
            </a:lvl6pPr>
            <a:lvl7pPr>
              <a:defRPr sz="1763"/>
            </a:lvl7pPr>
            <a:lvl8pPr>
              <a:defRPr sz="1763"/>
            </a:lvl8pPr>
            <a:lvl9pPr>
              <a:defRPr sz="176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466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8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92" y="1692278"/>
            <a:ext cx="4722813" cy="706438"/>
          </a:xfrm>
        </p:spPr>
        <p:txBody>
          <a:bodyPr anchor="b"/>
          <a:lstStyle>
            <a:lvl1pPr marL="0" indent="0">
              <a:buNone/>
              <a:defRPr sz="2314" b="1"/>
            </a:lvl1pPr>
            <a:lvl2pPr marL="439058" indent="0">
              <a:buNone/>
              <a:defRPr sz="2094" b="1"/>
            </a:lvl2pPr>
            <a:lvl3pPr marL="878150" indent="0">
              <a:buNone/>
              <a:defRPr sz="1763" b="1"/>
            </a:lvl3pPr>
            <a:lvl4pPr marL="1317226" indent="0">
              <a:buNone/>
              <a:defRPr sz="1543" b="1"/>
            </a:lvl4pPr>
            <a:lvl5pPr marL="1756303" indent="0">
              <a:buNone/>
              <a:defRPr sz="1543" b="1"/>
            </a:lvl5pPr>
            <a:lvl6pPr marL="2195384" indent="0">
              <a:buNone/>
              <a:defRPr sz="1543" b="1"/>
            </a:lvl6pPr>
            <a:lvl7pPr marL="2634460" indent="0">
              <a:buNone/>
              <a:defRPr sz="1543" b="1"/>
            </a:lvl7pPr>
            <a:lvl8pPr marL="3073541" indent="0">
              <a:buNone/>
              <a:defRPr sz="1543" b="1"/>
            </a:lvl8pPr>
            <a:lvl9pPr marL="3512618" indent="0">
              <a:buNone/>
              <a:defRPr sz="154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92" y="2398771"/>
            <a:ext cx="4722813" cy="4357687"/>
          </a:xfrm>
        </p:spPr>
        <p:txBody>
          <a:bodyPr/>
          <a:lstStyle>
            <a:lvl1pPr>
              <a:defRPr sz="2314"/>
            </a:lvl1pPr>
            <a:lvl2pPr>
              <a:defRPr sz="2094"/>
            </a:lvl2pPr>
            <a:lvl3pPr>
              <a:defRPr sz="1763"/>
            </a:lvl3pPr>
            <a:lvl4pPr>
              <a:defRPr sz="1543"/>
            </a:lvl4pPr>
            <a:lvl5pPr>
              <a:defRPr sz="1543"/>
            </a:lvl5pPr>
            <a:lvl6pPr>
              <a:defRPr sz="1543"/>
            </a:lvl6pPr>
            <a:lvl7pPr>
              <a:defRPr sz="1543"/>
            </a:lvl7pPr>
            <a:lvl8pPr>
              <a:defRPr sz="1543"/>
            </a:lvl8pPr>
            <a:lvl9pPr>
              <a:defRPr sz="154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252" y="1692278"/>
            <a:ext cx="4724400" cy="706438"/>
          </a:xfrm>
        </p:spPr>
        <p:txBody>
          <a:bodyPr anchor="b"/>
          <a:lstStyle>
            <a:lvl1pPr marL="0" indent="0">
              <a:buNone/>
              <a:defRPr sz="2314" b="1"/>
            </a:lvl1pPr>
            <a:lvl2pPr marL="439058" indent="0">
              <a:buNone/>
              <a:defRPr sz="2094" b="1"/>
            </a:lvl2pPr>
            <a:lvl3pPr marL="878150" indent="0">
              <a:buNone/>
              <a:defRPr sz="1763" b="1"/>
            </a:lvl3pPr>
            <a:lvl4pPr marL="1317226" indent="0">
              <a:buNone/>
              <a:defRPr sz="1543" b="1"/>
            </a:lvl4pPr>
            <a:lvl5pPr marL="1756303" indent="0">
              <a:buNone/>
              <a:defRPr sz="1543" b="1"/>
            </a:lvl5pPr>
            <a:lvl6pPr marL="2195384" indent="0">
              <a:buNone/>
              <a:defRPr sz="1543" b="1"/>
            </a:lvl6pPr>
            <a:lvl7pPr marL="2634460" indent="0">
              <a:buNone/>
              <a:defRPr sz="1543" b="1"/>
            </a:lvl7pPr>
            <a:lvl8pPr marL="3073541" indent="0">
              <a:buNone/>
              <a:defRPr sz="1543" b="1"/>
            </a:lvl8pPr>
            <a:lvl9pPr marL="3512618" indent="0">
              <a:buNone/>
              <a:defRPr sz="154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252" y="2398771"/>
            <a:ext cx="4724400" cy="4357687"/>
          </a:xfrm>
        </p:spPr>
        <p:txBody>
          <a:bodyPr/>
          <a:lstStyle>
            <a:lvl1pPr>
              <a:defRPr sz="2314"/>
            </a:lvl1pPr>
            <a:lvl2pPr>
              <a:defRPr sz="2094"/>
            </a:lvl2pPr>
            <a:lvl3pPr>
              <a:defRPr sz="1763"/>
            </a:lvl3pPr>
            <a:lvl4pPr>
              <a:defRPr sz="1543"/>
            </a:lvl4pPr>
            <a:lvl5pPr>
              <a:defRPr sz="1543"/>
            </a:lvl5pPr>
            <a:lvl6pPr>
              <a:defRPr sz="1543"/>
            </a:lvl6pPr>
            <a:lvl7pPr>
              <a:defRPr sz="1543"/>
            </a:lvl7pPr>
            <a:lvl8pPr>
              <a:defRPr sz="1543"/>
            </a:lvl8pPr>
            <a:lvl9pPr>
              <a:defRPr sz="154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2077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Template landscape shadow_5_Page_5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547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9371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9" y="301676"/>
            <a:ext cx="3516311" cy="1281113"/>
          </a:xfrm>
        </p:spPr>
        <p:txBody>
          <a:bodyPr anchor="b"/>
          <a:lstStyle>
            <a:lvl1pPr algn="l">
              <a:defRPr sz="2094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304" y="301628"/>
            <a:ext cx="5975351" cy="6454774"/>
          </a:xfrm>
        </p:spPr>
        <p:txBody>
          <a:bodyPr/>
          <a:lstStyle>
            <a:lvl1pPr>
              <a:defRPr sz="3086"/>
            </a:lvl1pPr>
            <a:lvl2pPr>
              <a:defRPr sz="2866"/>
            </a:lvl2pPr>
            <a:lvl3pPr>
              <a:defRPr sz="2314"/>
            </a:lvl3pPr>
            <a:lvl4pPr>
              <a:defRPr sz="2094"/>
            </a:lvl4pPr>
            <a:lvl5pPr>
              <a:defRPr sz="2094"/>
            </a:lvl5pPr>
            <a:lvl6pPr>
              <a:defRPr sz="2094"/>
            </a:lvl6pPr>
            <a:lvl7pPr>
              <a:defRPr sz="2094"/>
            </a:lvl7pPr>
            <a:lvl8pPr>
              <a:defRPr sz="2094"/>
            </a:lvl8pPr>
            <a:lvl9pPr>
              <a:defRPr sz="209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989" y="1582740"/>
            <a:ext cx="3516311" cy="5173662"/>
          </a:xfrm>
        </p:spPr>
        <p:txBody>
          <a:bodyPr/>
          <a:lstStyle>
            <a:lvl1pPr marL="0" indent="0">
              <a:buNone/>
              <a:defRPr sz="1322"/>
            </a:lvl1pPr>
            <a:lvl2pPr marL="439058" indent="0">
              <a:buNone/>
              <a:defRPr sz="1213"/>
            </a:lvl2pPr>
            <a:lvl3pPr marL="878150" indent="0">
              <a:buNone/>
              <a:defRPr sz="992"/>
            </a:lvl3pPr>
            <a:lvl4pPr marL="1317226" indent="0">
              <a:buNone/>
              <a:defRPr sz="882"/>
            </a:lvl4pPr>
            <a:lvl5pPr marL="1756303" indent="0">
              <a:buNone/>
              <a:defRPr sz="882"/>
            </a:lvl5pPr>
            <a:lvl6pPr marL="2195384" indent="0">
              <a:buNone/>
              <a:defRPr sz="882"/>
            </a:lvl6pPr>
            <a:lvl7pPr marL="2634460" indent="0">
              <a:buNone/>
              <a:defRPr sz="882"/>
            </a:lvl7pPr>
            <a:lvl8pPr marL="3073541" indent="0">
              <a:buNone/>
              <a:defRPr sz="882"/>
            </a:lvl8pPr>
            <a:lvl9pPr marL="351261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2374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7" y="5294367"/>
            <a:ext cx="6413500" cy="623887"/>
          </a:xfrm>
        </p:spPr>
        <p:txBody>
          <a:bodyPr anchor="b"/>
          <a:lstStyle>
            <a:lvl1pPr algn="l">
              <a:defRPr sz="2094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507" y="676277"/>
            <a:ext cx="6413500" cy="4537075"/>
          </a:xfrm>
        </p:spPr>
        <p:txBody>
          <a:bodyPr/>
          <a:lstStyle>
            <a:lvl1pPr marL="0" indent="0">
              <a:buNone/>
              <a:defRPr sz="3086"/>
            </a:lvl1pPr>
            <a:lvl2pPr marL="439058" indent="0">
              <a:buNone/>
              <a:defRPr sz="2866"/>
            </a:lvl2pPr>
            <a:lvl3pPr marL="878150" indent="0">
              <a:buNone/>
              <a:defRPr sz="2314"/>
            </a:lvl3pPr>
            <a:lvl4pPr marL="1317226" indent="0">
              <a:buNone/>
              <a:defRPr sz="2094"/>
            </a:lvl4pPr>
            <a:lvl5pPr marL="1756303" indent="0">
              <a:buNone/>
              <a:defRPr sz="2094"/>
            </a:lvl5pPr>
            <a:lvl6pPr marL="2195384" indent="0">
              <a:buNone/>
              <a:defRPr sz="2094"/>
            </a:lvl6pPr>
            <a:lvl7pPr marL="2634460" indent="0">
              <a:buNone/>
              <a:defRPr sz="2094"/>
            </a:lvl7pPr>
            <a:lvl8pPr marL="3073541" indent="0">
              <a:buNone/>
              <a:defRPr sz="2094"/>
            </a:lvl8pPr>
            <a:lvl9pPr marL="3512618" indent="0">
              <a:buNone/>
              <a:defRPr sz="2094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507" y="5918203"/>
            <a:ext cx="6413500" cy="889000"/>
          </a:xfrm>
        </p:spPr>
        <p:txBody>
          <a:bodyPr/>
          <a:lstStyle>
            <a:lvl1pPr marL="0" indent="0">
              <a:buNone/>
              <a:defRPr sz="1322"/>
            </a:lvl1pPr>
            <a:lvl2pPr marL="439058" indent="0">
              <a:buNone/>
              <a:defRPr sz="1213"/>
            </a:lvl2pPr>
            <a:lvl3pPr marL="878150" indent="0">
              <a:buNone/>
              <a:defRPr sz="992"/>
            </a:lvl3pPr>
            <a:lvl4pPr marL="1317226" indent="0">
              <a:buNone/>
              <a:defRPr sz="882"/>
            </a:lvl4pPr>
            <a:lvl5pPr marL="1756303" indent="0">
              <a:buNone/>
              <a:defRPr sz="882"/>
            </a:lvl5pPr>
            <a:lvl6pPr marL="2195384" indent="0">
              <a:buNone/>
              <a:defRPr sz="882"/>
            </a:lvl6pPr>
            <a:lvl7pPr marL="2634460" indent="0">
              <a:buNone/>
              <a:defRPr sz="882"/>
            </a:lvl7pPr>
            <a:lvl8pPr marL="3073541" indent="0">
              <a:buNone/>
              <a:defRPr sz="882"/>
            </a:lvl8pPr>
            <a:lvl9pPr marL="351261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4359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205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34988" y="-34925"/>
            <a:ext cx="9618662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988" y="1260475"/>
            <a:ext cx="9618662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pic>
        <p:nvPicPr>
          <p:cNvPr id="2053" name="Picture 7" descr="Template landscape shadow_5_Page_5.jp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4763" y="28575"/>
            <a:ext cx="1785937" cy="1682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defTabSz="1001778">
              <a:defRPr sz="1322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1pPr>
          </a:lstStyle>
          <a:p>
            <a:pPr>
              <a:defRPr/>
            </a:pPr>
            <a:fld id="{C66675AA-71B2-406A-B282-D4015B5D95E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5pPr>
      <a:lvl6pPr marL="439112" algn="l" rtl="0" fontAlgn="base">
        <a:spcBef>
          <a:spcPct val="0"/>
        </a:spcBef>
        <a:spcAft>
          <a:spcPct val="0"/>
        </a:spcAft>
        <a:defRPr sz="3417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878260" algn="l" rtl="0" fontAlgn="base">
        <a:spcBef>
          <a:spcPct val="0"/>
        </a:spcBef>
        <a:spcAft>
          <a:spcPct val="0"/>
        </a:spcAft>
        <a:defRPr sz="3417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317389" algn="l" rtl="0" fontAlgn="base">
        <a:spcBef>
          <a:spcPct val="0"/>
        </a:spcBef>
        <a:spcAft>
          <a:spcPct val="0"/>
        </a:spcAft>
        <a:defRPr sz="3417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756523" algn="l" rtl="0" fontAlgn="base">
        <a:spcBef>
          <a:spcPct val="0"/>
        </a:spcBef>
        <a:spcAft>
          <a:spcPct val="0"/>
        </a:spcAft>
        <a:defRPr sz="3417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328613" indent="-328613" algn="l" rtl="0" eaLnBrk="0" fontAlgn="base" hangingPunct="0">
        <a:spcBef>
          <a:spcPct val="20000"/>
        </a:spcBef>
        <a:spcAft>
          <a:spcPct val="0"/>
        </a:spcAft>
        <a:buChar char="•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712788" indent="-2730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096963" indent="-219075" algn="l" rtl="0" eaLnBrk="0" fontAlgn="base" hangingPunct="0">
        <a:spcBef>
          <a:spcPct val="20000"/>
        </a:spcBef>
        <a:spcAft>
          <a:spcPct val="0"/>
        </a:spcAft>
        <a:buChar char="•"/>
        <a:defRPr sz="2300">
          <a:solidFill>
            <a:schemeClr val="tx1"/>
          </a:solidFill>
          <a:latin typeface="+mn-lt"/>
        </a:defRPr>
      </a:lvl3pPr>
      <a:lvl4pPr marL="1536700" indent="-21907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1974850" indent="-21907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415228" indent="-219556" algn="l" rtl="0" fontAlgn="base">
        <a:spcBef>
          <a:spcPct val="20000"/>
        </a:spcBef>
        <a:spcAft>
          <a:spcPct val="0"/>
        </a:spcAft>
        <a:buChar char="»"/>
        <a:defRPr sz="2094">
          <a:solidFill>
            <a:schemeClr val="tx1"/>
          </a:solidFill>
          <a:latin typeface="+mn-lt"/>
        </a:defRPr>
      </a:lvl6pPr>
      <a:lvl7pPr marL="2854359" indent="-219556" algn="l" rtl="0" fontAlgn="base">
        <a:spcBef>
          <a:spcPct val="20000"/>
        </a:spcBef>
        <a:spcAft>
          <a:spcPct val="0"/>
        </a:spcAft>
        <a:buChar char="»"/>
        <a:defRPr sz="2094">
          <a:solidFill>
            <a:schemeClr val="tx1"/>
          </a:solidFill>
          <a:latin typeface="+mn-lt"/>
        </a:defRPr>
      </a:lvl7pPr>
      <a:lvl8pPr marL="3293494" indent="-219556" algn="l" rtl="0" fontAlgn="base">
        <a:spcBef>
          <a:spcPct val="20000"/>
        </a:spcBef>
        <a:spcAft>
          <a:spcPct val="0"/>
        </a:spcAft>
        <a:buChar char="»"/>
        <a:defRPr sz="2094">
          <a:solidFill>
            <a:schemeClr val="tx1"/>
          </a:solidFill>
          <a:latin typeface="+mn-lt"/>
        </a:defRPr>
      </a:lvl8pPr>
      <a:lvl9pPr marL="3732618" indent="-219556" algn="l" rtl="0" fontAlgn="base">
        <a:spcBef>
          <a:spcPct val="20000"/>
        </a:spcBef>
        <a:spcAft>
          <a:spcPct val="0"/>
        </a:spcAft>
        <a:buChar char="»"/>
        <a:defRPr sz="209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1pPr>
      <a:lvl2pPr marL="439112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2pPr>
      <a:lvl3pPr marL="878260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3pPr>
      <a:lvl4pPr marL="1317389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4pPr>
      <a:lvl5pPr marL="1756523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5pPr>
      <a:lvl6pPr marL="2195656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6pPr>
      <a:lvl7pPr marL="2634786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7pPr>
      <a:lvl8pPr marL="3073923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8pPr>
      <a:lvl9pPr marL="3513053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Rectangle 157">
            <a:extLst>
              <a:ext uri="{FF2B5EF4-FFF2-40B4-BE49-F238E27FC236}">
                <a16:creationId xmlns:a16="http://schemas.microsoft.com/office/drawing/2014/main" id="{82231861-A11E-6FB2-42F1-AD0EC54FCC05}"/>
              </a:ext>
            </a:extLst>
          </p:cNvPr>
          <p:cNvSpPr/>
          <p:nvPr/>
        </p:nvSpPr>
        <p:spPr>
          <a:xfrm>
            <a:off x="3406863" y="2665826"/>
            <a:ext cx="773089" cy="793499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937D6352-1833-D6B0-2D25-4E443E4F1397}"/>
              </a:ext>
            </a:extLst>
          </p:cNvPr>
          <p:cNvSpPr/>
          <p:nvPr/>
        </p:nvSpPr>
        <p:spPr>
          <a:xfrm>
            <a:off x="4162419" y="2672616"/>
            <a:ext cx="773089" cy="786709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5E5412F2-0731-D07F-9C89-EC3A8836816C}"/>
              </a:ext>
            </a:extLst>
          </p:cNvPr>
          <p:cNvSpPr/>
          <p:nvPr/>
        </p:nvSpPr>
        <p:spPr>
          <a:xfrm>
            <a:off x="4884869" y="2665827"/>
            <a:ext cx="773089" cy="786708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A54ABD4-BAF2-2A3D-E15F-666DB69AB6CB}"/>
              </a:ext>
            </a:extLst>
          </p:cNvPr>
          <p:cNvSpPr/>
          <p:nvPr/>
        </p:nvSpPr>
        <p:spPr>
          <a:xfrm>
            <a:off x="5639003" y="2665827"/>
            <a:ext cx="773089" cy="786707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54C26E42-9C55-F53B-7A6F-A1440CD0FE90}"/>
              </a:ext>
            </a:extLst>
          </p:cNvPr>
          <p:cNvSpPr/>
          <p:nvPr/>
        </p:nvSpPr>
        <p:spPr>
          <a:xfrm>
            <a:off x="6413514" y="2665827"/>
            <a:ext cx="773089" cy="786707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B7B42547-E2BB-0624-4586-9110DD61AED3}"/>
              </a:ext>
            </a:extLst>
          </p:cNvPr>
          <p:cNvSpPr/>
          <p:nvPr/>
        </p:nvSpPr>
        <p:spPr>
          <a:xfrm>
            <a:off x="7189447" y="2668868"/>
            <a:ext cx="773089" cy="78366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5EDAE43C-0944-E44F-3F6E-8157B27B8867}"/>
              </a:ext>
            </a:extLst>
          </p:cNvPr>
          <p:cNvSpPr/>
          <p:nvPr/>
        </p:nvSpPr>
        <p:spPr>
          <a:xfrm>
            <a:off x="7963958" y="2665828"/>
            <a:ext cx="773089" cy="78366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3BFAAE65-9789-5909-DBD2-4C19627B9479}"/>
              </a:ext>
            </a:extLst>
          </p:cNvPr>
          <p:cNvSpPr/>
          <p:nvPr/>
        </p:nvSpPr>
        <p:spPr>
          <a:xfrm>
            <a:off x="8738469" y="2665828"/>
            <a:ext cx="773089" cy="783662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5779CCB5-2D16-357D-5FED-45AE3B428FB2}"/>
              </a:ext>
            </a:extLst>
          </p:cNvPr>
          <p:cNvCxnSpPr>
            <a:cxnSpLocks/>
          </p:cNvCxnSpPr>
          <p:nvPr/>
        </p:nvCxnSpPr>
        <p:spPr bwMode="auto">
          <a:xfrm flipH="1">
            <a:off x="1417813" y="2274376"/>
            <a:ext cx="77072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2661B5F5-DB8A-0A80-C14C-C7F014DF57B5}"/>
              </a:ext>
            </a:extLst>
          </p:cNvPr>
          <p:cNvCxnSpPr>
            <a:cxnSpLocks/>
            <a:endCxn id="165" idx="0"/>
          </p:cNvCxnSpPr>
          <p:nvPr/>
        </p:nvCxnSpPr>
        <p:spPr bwMode="auto">
          <a:xfrm>
            <a:off x="9125013" y="2458499"/>
            <a:ext cx="1" cy="20732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1C562925-AFE0-7149-BBEC-725D7B24B7D4}"/>
              </a:ext>
            </a:extLst>
          </p:cNvPr>
          <p:cNvCxnSpPr>
            <a:cxnSpLocks/>
            <a:endCxn id="164" idx="0"/>
          </p:cNvCxnSpPr>
          <p:nvPr/>
        </p:nvCxnSpPr>
        <p:spPr bwMode="auto">
          <a:xfrm>
            <a:off x="8349080" y="2458499"/>
            <a:ext cx="1423" cy="20732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5E4749B1-56FD-AA08-CF96-5A23E8EBE13A}"/>
              </a:ext>
            </a:extLst>
          </p:cNvPr>
          <p:cNvCxnSpPr>
            <a:cxnSpLocks/>
            <a:endCxn id="163" idx="0"/>
          </p:cNvCxnSpPr>
          <p:nvPr/>
        </p:nvCxnSpPr>
        <p:spPr bwMode="auto">
          <a:xfrm>
            <a:off x="7573147" y="2448974"/>
            <a:ext cx="2845" cy="21989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7DFA26E9-FF27-A6EF-CA6F-4564BB9CE1B7}"/>
              </a:ext>
            </a:extLst>
          </p:cNvPr>
          <p:cNvCxnSpPr>
            <a:cxnSpLocks/>
            <a:endCxn id="162" idx="0"/>
          </p:cNvCxnSpPr>
          <p:nvPr/>
        </p:nvCxnSpPr>
        <p:spPr bwMode="auto">
          <a:xfrm>
            <a:off x="6800058" y="2458499"/>
            <a:ext cx="1" cy="20732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EE188BBC-44BE-4389-C905-66E333FC62B0}"/>
              </a:ext>
            </a:extLst>
          </p:cNvPr>
          <p:cNvCxnSpPr>
            <a:cxnSpLocks/>
            <a:endCxn id="161" idx="0"/>
          </p:cNvCxnSpPr>
          <p:nvPr/>
        </p:nvCxnSpPr>
        <p:spPr bwMode="auto">
          <a:xfrm>
            <a:off x="6024836" y="2453736"/>
            <a:ext cx="712" cy="2120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7E3D57A3-6B89-4DAA-25F4-159AD234084E}"/>
              </a:ext>
            </a:extLst>
          </p:cNvPr>
          <p:cNvCxnSpPr>
            <a:cxnSpLocks/>
            <a:endCxn id="160" idx="0"/>
          </p:cNvCxnSpPr>
          <p:nvPr/>
        </p:nvCxnSpPr>
        <p:spPr bwMode="auto">
          <a:xfrm>
            <a:off x="5271413" y="2458499"/>
            <a:ext cx="1" cy="20732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437F05D7-0537-9D30-0F16-7E93C1940440}"/>
              </a:ext>
            </a:extLst>
          </p:cNvPr>
          <p:cNvCxnSpPr>
            <a:cxnSpLocks/>
            <a:endCxn id="159" idx="0"/>
          </p:cNvCxnSpPr>
          <p:nvPr/>
        </p:nvCxnSpPr>
        <p:spPr bwMode="auto">
          <a:xfrm>
            <a:off x="4546830" y="2465588"/>
            <a:ext cx="2134" cy="20702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3AE3EA9D-2BDE-C5BF-75AB-57535C1BCCB8}"/>
              </a:ext>
            </a:extLst>
          </p:cNvPr>
          <p:cNvCxnSpPr>
            <a:cxnSpLocks/>
            <a:endCxn id="158" idx="0"/>
          </p:cNvCxnSpPr>
          <p:nvPr/>
        </p:nvCxnSpPr>
        <p:spPr bwMode="auto">
          <a:xfrm>
            <a:off x="3793407" y="2465588"/>
            <a:ext cx="1" cy="200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itle 3">
            <a:extLst>
              <a:ext uri="{FF2B5EF4-FFF2-40B4-BE49-F238E27FC236}">
                <a16:creationId xmlns:a16="http://schemas.microsoft.com/office/drawing/2014/main" id="{B5ABDB55-7203-5282-3889-B58358C58BFD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Arial"/>
              </a:rPr>
              <a:t>Parking CCTV Operation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A4C3FE8-855D-1A24-DA24-2389A4E27393}"/>
              </a:ext>
            </a:extLst>
          </p:cNvPr>
          <p:cNvSpPr/>
          <p:nvPr/>
        </p:nvSpPr>
        <p:spPr>
          <a:xfrm>
            <a:off x="4957774" y="1199001"/>
            <a:ext cx="773089" cy="749742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CCTV Operations Manag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4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197085F-9498-DE01-5078-C1A05BEBE0EC}"/>
              </a:ext>
            </a:extLst>
          </p:cNvPr>
          <p:cNvCxnSpPr>
            <a:cxnSpLocks/>
          </p:cNvCxnSpPr>
          <p:nvPr/>
        </p:nvCxnSpPr>
        <p:spPr bwMode="auto">
          <a:xfrm>
            <a:off x="5335055" y="1904531"/>
            <a:ext cx="9263" cy="36984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94E201C-CC6E-C554-DC2A-FA0CF8F76C18}"/>
              </a:ext>
            </a:extLst>
          </p:cNvPr>
          <p:cNvSpPr/>
          <p:nvPr/>
        </p:nvSpPr>
        <p:spPr>
          <a:xfrm>
            <a:off x="1859263" y="2656554"/>
            <a:ext cx="773089" cy="807079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Technical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BD6D34-1793-EB19-5346-18F47383E3A6}"/>
              </a:ext>
            </a:extLst>
          </p:cNvPr>
          <p:cNvSpPr/>
          <p:nvPr/>
        </p:nvSpPr>
        <p:spPr>
          <a:xfrm>
            <a:off x="2633774" y="2656555"/>
            <a:ext cx="773089" cy="793500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3B655D-2510-BB42-357F-754EB6424EB9}"/>
              </a:ext>
            </a:extLst>
          </p:cNvPr>
          <p:cNvSpPr/>
          <p:nvPr/>
        </p:nvSpPr>
        <p:spPr>
          <a:xfrm>
            <a:off x="1031269" y="2672616"/>
            <a:ext cx="773089" cy="807079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Technical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(Vacant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DBE088-EA84-6D18-DACD-BDC6C81FDC13}"/>
              </a:ext>
            </a:extLst>
          </p:cNvPr>
          <p:cNvSpPr/>
          <p:nvPr/>
        </p:nvSpPr>
        <p:spPr>
          <a:xfrm>
            <a:off x="8373887" y="2753719"/>
            <a:ext cx="770986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 (Agency - FMC)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Drainage Support Engine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432124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825F22-851E-B012-FEF8-08394DAC2867}"/>
              </a:ext>
            </a:extLst>
          </p:cNvPr>
          <p:cNvSpPr/>
          <p:nvPr/>
        </p:nvSpPr>
        <p:spPr>
          <a:xfrm>
            <a:off x="3546885" y="487525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eneral Manager Enforcement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rade 15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4D2C7-AF7A-E449-55C1-BF6B9F89D9EB}"/>
              </a:ext>
            </a:extLst>
          </p:cNvPr>
          <p:cNvCxnSpPr>
            <a:stCxn id="5" idx="2"/>
          </p:cNvCxnSpPr>
          <p:nvPr/>
        </p:nvCxnSpPr>
        <p:spPr bwMode="auto">
          <a:xfrm>
            <a:off x="5064050" y="1349400"/>
            <a:ext cx="0" cy="381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387EC5A-A3C0-FDBE-AB93-279AADFADDA5}"/>
              </a:ext>
            </a:extLst>
          </p:cNvPr>
          <p:cNvCxnSpPr>
            <a:cxnSpLocks/>
          </p:cNvCxnSpPr>
          <p:nvPr/>
        </p:nvCxnSpPr>
        <p:spPr bwMode="auto">
          <a:xfrm flipH="1">
            <a:off x="1699964" y="1730829"/>
            <a:ext cx="346128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9FD4A1D-83DC-D715-5500-314CED8B2E7B}"/>
              </a:ext>
            </a:extLst>
          </p:cNvPr>
          <p:cNvCxnSpPr>
            <a:cxnSpLocks/>
          </p:cNvCxnSpPr>
          <p:nvPr/>
        </p:nvCxnSpPr>
        <p:spPr bwMode="auto">
          <a:xfrm>
            <a:off x="4790126" y="1730829"/>
            <a:ext cx="354729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17FBD14-8282-F615-BD9B-1C84830956A7}"/>
              </a:ext>
            </a:extLst>
          </p:cNvPr>
          <p:cNvCxnSpPr>
            <a:cxnSpLocks/>
          </p:cNvCxnSpPr>
          <p:nvPr/>
        </p:nvCxnSpPr>
        <p:spPr bwMode="auto">
          <a:xfrm>
            <a:off x="2415572" y="1794287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1775E8C-1BE4-D5C5-3F7C-73E881866EE2}"/>
              </a:ext>
            </a:extLst>
          </p:cNvPr>
          <p:cNvSpPr/>
          <p:nvPr/>
        </p:nvSpPr>
        <p:spPr>
          <a:xfrm>
            <a:off x="1017928" y="2177120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Enforcement Superviso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8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8A6605-7186-CCDF-F4F8-5A453690F2CB}"/>
              </a:ext>
            </a:extLst>
          </p:cNvPr>
          <p:cNvSpPr/>
          <p:nvPr/>
        </p:nvSpPr>
        <p:spPr>
          <a:xfrm>
            <a:off x="4367941" y="2177120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Enforcement Superviso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8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8BA169-953A-CD84-2B48-18690862FB89}"/>
              </a:ext>
            </a:extLst>
          </p:cNvPr>
          <p:cNvSpPr/>
          <p:nvPr/>
        </p:nvSpPr>
        <p:spPr>
          <a:xfrm>
            <a:off x="7626575" y="2177120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Enforcement Superviso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8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76F4010-88DC-3EA9-7AF2-3CC0B9E01267}"/>
              </a:ext>
            </a:extLst>
          </p:cNvPr>
          <p:cNvCxnSpPr>
            <a:endCxn id="2" idx="0"/>
          </p:cNvCxnSpPr>
          <p:nvPr/>
        </p:nvCxnSpPr>
        <p:spPr bwMode="auto">
          <a:xfrm>
            <a:off x="1714036" y="1730829"/>
            <a:ext cx="1" cy="4462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21F856A-0A1A-887D-DA7E-F06C2B362F14}"/>
              </a:ext>
            </a:extLst>
          </p:cNvPr>
          <p:cNvCxnSpPr/>
          <p:nvPr/>
        </p:nvCxnSpPr>
        <p:spPr bwMode="auto">
          <a:xfrm>
            <a:off x="5064050" y="1730829"/>
            <a:ext cx="0" cy="4462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C2B19DD-FB0B-C948-0C64-565D3CCE0E08}"/>
              </a:ext>
            </a:extLst>
          </p:cNvPr>
          <p:cNvCxnSpPr/>
          <p:nvPr/>
        </p:nvCxnSpPr>
        <p:spPr bwMode="auto">
          <a:xfrm>
            <a:off x="8337420" y="1730829"/>
            <a:ext cx="0" cy="4462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60F3562B-45FA-727F-558F-E02D4057086B}"/>
              </a:ext>
            </a:extLst>
          </p:cNvPr>
          <p:cNvSpPr/>
          <p:nvPr/>
        </p:nvSpPr>
        <p:spPr>
          <a:xfrm>
            <a:off x="791431" y="3484435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19C088B-5053-FEEE-ACC1-1C1F78986ACB}"/>
              </a:ext>
            </a:extLst>
          </p:cNvPr>
          <p:cNvSpPr/>
          <p:nvPr/>
        </p:nvSpPr>
        <p:spPr>
          <a:xfrm>
            <a:off x="1769185" y="3473304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D366070-6C5E-948C-F3B1-38D3EA0A3DFF}"/>
              </a:ext>
            </a:extLst>
          </p:cNvPr>
          <p:cNvSpPr/>
          <p:nvPr/>
        </p:nvSpPr>
        <p:spPr>
          <a:xfrm>
            <a:off x="791430" y="4092682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0614F00-F52E-864B-18CA-4A1C9456082D}"/>
              </a:ext>
            </a:extLst>
          </p:cNvPr>
          <p:cNvSpPr/>
          <p:nvPr/>
        </p:nvSpPr>
        <p:spPr>
          <a:xfrm>
            <a:off x="1783367" y="4092682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37AF587-270B-F7FC-014D-DA86D288BC77}"/>
              </a:ext>
            </a:extLst>
          </p:cNvPr>
          <p:cNvSpPr/>
          <p:nvPr/>
        </p:nvSpPr>
        <p:spPr>
          <a:xfrm>
            <a:off x="791429" y="4712060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Despatcher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658D489-047D-BF6C-4D06-04C548B8CAED}"/>
              </a:ext>
            </a:extLst>
          </p:cNvPr>
          <p:cNvSpPr/>
          <p:nvPr/>
        </p:nvSpPr>
        <p:spPr>
          <a:xfrm>
            <a:off x="1783367" y="4712060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58AF2C2-2BBA-57C8-93B3-31F526C75A59}"/>
              </a:ext>
            </a:extLst>
          </p:cNvPr>
          <p:cNvSpPr/>
          <p:nvPr/>
        </p:nvSpPr>
        <p:spPr>
          <a:xfrm>
            <a:off x="791429" y="5331437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6472823-A383-C125-C065-3756955B407E}"/>
              </a:ext>
            </a:extLst>
          </p:cNvPr>
          <p:cNvSpPr/>
          <p:nvPr/>
        </p:nvSpPr>
        <p:spPr>
          <a:xfrm>
            <a:off x="1783367" y="5331438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0829456-A6A3-17CC-FB0E-E11C69FEB99D}"/>
              </a:ext>
            </a:extLst>
          </p:cNvPr>
          <p:cNvSpPr/>
          <p:nvPr/>
        </p:nvSpPr>
        <p:spPr>
          <a:xfrm>
            <a:off x="1783366" y="5931488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0D9AAF0-94BA-800C-9A95-F8F0FEFDDBFE}"/>
              </a:ext>
            </a:extLst>
          </p:cNvPr>
          <p:cNvSpPr/>
          <p:nvPr/>
        </p:nvSpPr>
        <p:spPr>
          <a:xfrm>
            <a:off x="799265" y="5950814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FE74BFE-3EE9-844B-0374-EFEC20DBF8C7}"/>
              </a:ext>
            </a:extLst>
          </p:cNvPr>
          <p:cNvSpPr/>
          <p:nvPr/>
        </p:nvSpPr>
        <p:spPr>
          <a:xfrm>
            <a:off x="799265" y="6570191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BC47CE8-4D12-01A3-BEE5-31651914D9FD}"/>
              </a:ext>
            </a:extLst>
          </p:cNvPr>
          <p:cNvSpPr/>
          <p:nvPr/>
        </p:nvSpPr>
        <p:spPr>
          <a:xfrm>
            <a:off x="1769185" y="6550865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96720E7-2EB0-2CF7-64ED-7329BDC9D30F}"/>
              </a:ext>
            </a:extLst>
          </p:cNvPr>
          <p:cNvSpPr/>
          <p:nvPr/>
        </p:nvSpPr>
        <p:spPr>
          <a:xfrm>
            <a:off x="2774923" y="5802154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37BBFD8-0F85-35EA-B6B0-0EA7868A1BD3}"/>
              </a:ext>
            </a:extLst>
          </p:cNvPr>
          <p:cNvCxnSpPr>
            <a:stCxn id="2" idx="2"/>
          </p:cNvCxnSpPr>
          <p:nvPr/>
        </p:nvCxnSpPr>
        <p:spPr bwMode="auto">
          <a:xfrm flipH="1">
            <a:off x="1714036" y="3215214"/>
            <a:ext cx="1" cy="15391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2A56B8F-E3EC-B4F6-0DEB-EBD4FD9ABF73}"/>
              </a:ext>
            </a:extLst>
          </p:cNvPr>
          <p:cNvCxnSpPr/>
          <p:nvPr/>
        </p:nvCxnSpPr>
        <p:spPr bwMode="auto">
          <a:xfrm>
            <a:off x="1714036" y="3388179"/>
            <a:ext cx="100363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04FB759-699F-A2ED-0EA8-004836783632}"/>
              </a:ext>
            </a:extLst>
          </p:cNvPr>
          <p:cNvCxnSpPr>
            <a:cxnSpLocks/>
          </p:cNvCxnSpPr>
          <p:nvPr/>
        </p:nvCxnSpPr>
        <p:spPr bwMode="auto">
          <a:xfrm>
            <a:off x="2727195" y="3388179"/>
            <a:ext cx="0" cy="3714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2BEDC52-8512-9A5D-CCF9-FFEA62502180}"/>
              </a:ext>
            </a:extLst>
          </p:cNvPr>
          <p:cNvCxnSpPr>
            <a:cxnSpLocks/>
            <a:endCxn id="49" idx="3"/>
          </p:cNvCxnSpPr>
          <p:nvPr/>
        </p:nvCxnSpPr>
        <p:spPr bwMode="auto">
          <a:xfrm flipH="1">
            <a:off x="2562862" y="3773330"/>
            <a:ext cx="16433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B48E0461-3BAE-E7B1-EE0C-19EE5D91464D}"/>
              </a:ext>
            </a:extLst>
          </p:cNvPr>
          <p:cNvCxnSpPr>
            <a:cxnSpLocks/>
          </p:cNvCxnSpPr>
          <p:nvPr/>
        </p:nvCxnSpPr>
        <p:spPr bwMode="auto">
          <a:xfrm>
            <a:off x="2727195" y="3773330"/>
            <a:ext cx="0" cy="6193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CEB4C508-9D4A-6B07-F9A3-FA7291347FFD}"/>
              </a:ext>
            </a:extLst>
          </p:cNvPr>
          <p:cNvCxnSpPr>
            <a:cxnSpLocks/>
            <a:stCxn id="51" idx="3"/>
          </p:cNvCxnSpPr>
          <p:nvPr/>
        </p:nvCxnSpPr>
        <p:spPr bwMode="auto">
          <a:xfrm>
            <a:off x="2577044" y="4392708"/>
            <a:ext cx="15015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B0030166-5118-C159-08D7-428AD3578955}"/>
              </a:ext>
            </a:extLst>
          </p:cNvPr>
          <p:cNvCxnSpPr>
            <a:cxnSpLocks/>
          </p:cNvCxnSpPr>
          <p:nvPr/>
        </p:nvCxnSpPr>
        <p:spPr bwMode="auto">
          <a:xfrm>
            <a:off x="2727195" y="4392708"/>
            <a:ext cx="0" cy="61937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14338E5E-F98F-AEBE-BD87-B422B50B9A9E}"/>
              </a:ext>
            </a:extLst>
          </p:cNvPr>
          <p:cNvCxnSpPr>
            <a:stCxn id="53" idx="3"/>
          </p:cNvCxnSpPr>
          <p:nvPr/>
        </p:nvCxnSpPr>
        <p:spPr bwMode="auto">
          <a:xfrm flipV="1">
            <a:off x="2577044" y="5012084"/>
            <a:ext cx="150151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A7D68342-5342-2E18-A0C7-B9DFCB3BECAE}"/>
              </a:ext>
            </a:extLst>
          </p:cNvPr>
          <p:cNvCxnSpPr>
            <a:stCxn id="55" idx="3"/>
          </p:cNvCxnSpPr>
          <p:nvPr/>
        </p:nvCxnSpPr>
        <p:spPr bwMode="auto">
          <a:xfrm flipV="1">
            <a:off x="2577044" y="5631462"/>
            <a:ext cx="150151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181D8F7B-F2E2-011F-5AFE-477CDC1E5102}"/>
              </a:ext>
            </a:extLst>
          </p:cNvPr>
          <p:cNvCxnSpPr/>
          <p:nvPr/>
        </p:nvCxnSpPr>
        <p:spPr bwMode="auto">
          <a:xfrm>
            <a:off x="2727195" y="5012083"/>
            <a:ext cx="0" cy="61937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6BE2D2E3-0784-8D5C-3F3F-25C8757633FA}"/>
              </a:ext>
            </a:extLst>
          </p:cNvPr>
          <p:cNvCxnSpPr>
            <a:stCxn id="56" idx="3"/>
          </p:cNvCxnSpPr>
          <p:nvPr/>
        </p:nvCxnSpPr>
        <p:spPr bwMode="auto">
          <a:xfrm flipV="1">
            <a:off x="2577043" y="6231513"/>
            <a:ext cx="150152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B263F79F-AC4F-CCF7-D6B3-1FC5B0402097}"/>
              </a:ext>
            </a:extLst>
          </p:cNvPr>
          <p:cNvCxnSpPr>
            <a:cxnSpLocks/>
          </p:cNvCxnSpPr>
          <p:nvPr/>
        </p:nvCxnSpPr>
        <p:spPr bwMode="auto">
          <a:xfrm>
            <a:off x="2727195" y="5621798"/>
            <a:ext cx="0" cy="619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26544233-D4A8-3958-B70E-317165204490}"/>
              </a:ext>
            </a:extLst>
          </p:cNvPr>
          <p:cNvCxnSpPr/>
          <p:nvPr/>
        </p:nvCxnSpPr>
        <p:spPr bwMode="auto">
          <a:xfrm flipH="1">
            <a:off x="603120" y="3388179"/>
            <a:ext cx="109684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4DB3E9B2-C57F-C8D1-E692-C355DE3EC7FE}"/>
              </a:ext>
            </a:extLst>
          </p:cNvPr>
          <p:cNvCxnSpPr>
            <a:cxnSpLocks/>
          </p:cNvCxnSpPr>
          <p:nvPr/>
        </p:nvCxnSpPr>
        <p:spPr bwMode="auto">
          <a:xfrm>
            <a:off x="603120" y="3388179"/>
            <a:ext cx="0" cy="34820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34D62D4-A1E1-43DD-5C40-3B2221B1B03C}"/>
              </a:ext>
            </a:extLst>
          </p:cNvPr>
          <p:cNvCxnSpPr>
            <a:cxnSpLocks/>
            <a:stCxn id="38" idx="1"/>
          </p:cNvCxnSpPr>
          <p:nvPr/>
        </p:nvCxnSpPr>
        <p:spPr bwMode="auto">
          <a:xfrm flipH="1">
            <a:off x="612993" y="3784461"/>
            <a:ext cx="1784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B41C6AFC-BC87-0487-F137-35E8F480248F}"/>
              </a:ext>
            </a:extLst>
          </p:cNvPr>
          <p:cNvCxnSpPr>
            <a:stCxn id="50" idx="1"/>
          </p:cNvCxnSpPr>
          <p:nvPr/>
        </p:nvCxnSpPr>
        <p:spPr bwMode="auto">
          <a:xfrm flipH="1" flipV="1">
            <a:off x="603120" y="4392707"/>
            <a:ext cx="188310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FBB63F57-C58D-3F14-82FA-2E808581FF39}"/>
              </a:ext>
            </a:extLst>
          </p:cNvPr>
          <p:cNvCxnSpPr>
            <a:stCxn id="52" idx="1"/>
          </p:cNvCxnSpPr>
          <p:nvPr/>
        </p:nvCxnSpPr>
        <p:spPr bwMode="auto">
          <a:xfrm flipH="1" flipV="1">
            <a:off x="612993" y="5012083"/>
            <a:ext cx="178436" cy="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C381D045-1CAD-E89C-129A-58864B5858F9}"/>
              </a:ext>
            </a:extLst>
          </p:cNvPr>
          <p:cNvCxnSpPr>
            <a:stCxn id="54" idx="1"/>
          </p:cNvCxnSpPr>
          <p:nvPr/>
        </p:nvCxnSpPr>
        <p:spPr bwMode="auto">
          <a:xfrm flipH="1" flipV="1">
            <a:off x="603120" y="5631459"/>
            <a:ext cx="188309" cy="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1373276E-544E-071D-EB69-85FB561B5B27}"/>
              </a:ext>
            </a:extLst>
          </p:cNvPr>
          <p:cNvCxnSpPr>
            <a:stCxn id="57" idx="1"/>
          </p:cNvCxnSpPr>
          <p:nvPr/>
        </p:nvCxnSpPr>
        <p:spPr bwMode="auto">
          <a:xfrm flipH="1" flipV="1">
            <a:off x="612993" y="6250839"/>
            <a:ext cx="186272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B504697-C85D-CD49-CB5A-17460BAF23A2}"/>
              </a:ext>
            </a:extLst>
          </p:cNvPr>
          <p:cNvCxnSpPr>
            <a:stCxn id="58" idx="1"/>
          </p:cNvCxnSpPr>
          <p:nvPr/>
        </p:nvCxnSpPr>
        <p:spPr bwMode="auto">
          <a:xfrm flipH="1" flipV="1">
            <a:off x="603120" y="6870216"/>
            <a:ext cx="196145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7" name="Rectangle 176">
            <a:extLst>
              <a:ext uri="{FF2B5EF4-FFF2-40B4-BE49-F238E27FC236}">
                <a16:creationId xmlns:a16="http://schemas.microsoft.com/office/drawing/2014/main" id="{81EB6C20-DF6B-D731-1DDF-40466A794B92}"/>
              </a:ext>
            </a:extLst>
          </p:cNvPr>
          <p:cNvSpPr/>
          <p:nvPr/>
        </p:nvSpPr>
        <p:spPr>
          <a:xfrm>
            <a:off x="2753208" y="6475274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EA5679A-02A2-A949-031E-4C054527617B}"/>
              </a:ext>
            </a:extLst>
          </p:cNvPr>
          <p:cNvCxnSpPr>
            <a:cxnSpLocks/>
          </p:cNvCxnSpPr>
          <p:nvPr/>
        </p:nvCxnSpPr>
        <p:spPr bwMode="auto">
          <a:xfrm>
            <a:off x="3172141" y="5931488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E1287429-D22F-1A63-F5C1-DBE8EC0630BA}"/>
              </a:ext>
            </a:extLst>
          </p:cNvPr>
          <p:cNvCxnSpPr>
            <a:cxnSpLocks/>
          </p:cNvCxnSpPr>
          <p:nvPr/>
        </p:nvCxnSpPr>
        <p:spPr bwMode="auto">
          <a:xfrm flipH="1">
            <a:off x="2717670" y="6231513"/>
            <a:ext cx="9525" cy="63870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14C26D4E-E9CF-B022-A535-6388607A551D}"/>
              </a:ext>
            </a:extLst>
          </p:cNvPr>
          <p:cNvCxnSpPr>
            <a:stCxn id="59" idx="3"/>
          </p:cNvCxnSpPr>
          <p:nvPr/>
        </p:nvCxnSpPr>
        <p:spPr bwMode="auto">
          <a:xfrm flipV="1">
            <a:off x="2562862" y="6850890"/>
            <a:ext cx="154808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4B41C6C6-C7FD-8E09-597D-5F79FBD3C370}"/>
              </a:ext>
            </a:extLst>
          </p:cNvPr>
          <p:cNvCxnSpPr>
            <a:cxnSpLocks/>
          </p:cNvCxnSpPr>
          <p:nvPr/>
        </p:nvCxnSpPr>
        <p:spPr bwMode="auto">
          <a:xfrm>
            <a:off x="2717670" y="6850890"/>
            <a:ext cx="0" cy="15981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F486CAC8-254B-A4B6-D012-18FA8AB605D9}"/>
              </a:ext>
            </a:extLst>
          </p:cNvPr>
          <p:cNvCxnSpPr>
            <a:cxnSpLocks/>
          </p:cNvCxnSpPr>
          <p:nvPr/>
        </p:nvCxnSpPr>
        <p:spPr bwMode="auto">
          <a:xfrm>
            <a:off x="2717670" y="7010703"/>
            <a:ext cx="57633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B7D4561D-C1A7-F3F8-C8D1-76C41581A320}"/>
              </a:ext>
            </a:extLst>
          </p:cNvPr>
          <p:cNvCxnSpPr>
            <a:stCxn id="60" idx="1"/>
            <a:endCxn id="60" idx="1"/>
          </p:cNvCxnSpPr>
          <p:nvPr/>
        </p:nvCxnSpPr>
        <p:spPr bwMode="auto">
          <a:xfrm>
            <a:off x="2774923" y="6102180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B1E9DBC6-1E4B-4B44-80C4-D1F15236A78B}"/>
              </a:ext>
            </a:extLst>
          </p:cNvPr>
          <p:cNvCxnSpPr>
            <a:stCxn id="60" idx="1"/>
            <a:endCxn id="60" idx="1"/>
          </p:cNvCxnSpPr>
          <p:nvPr/>
        </p:nvCxnSpPr>
        <p:spPr bwMode="auto">
          <a:xfrm>
            <a:off x="2774923" y="6102180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C1F9E55D-5E9F-A3C1-5AE0-3396349E5F94}"/>
              </a:ext>
            </a:extLst>
          </p:cNvPr>
          <p:cNvCxnSpPr>
            <a:endCxn id="60" idx="1"/>
          </p:cNvCxnSpPr>
          <p:nvPr/>
        </p:nvCxnSpPr>
        <p:spPr bwMode="auto">
          <a:xfrm>
            <a:off x="2717290" y="6102179"/>
            <a:ext cx="57633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2" name="Rectangle 201">
            <a:extLst>
              <a:ext uri="{FF2B5EF4-FFF2-40B4-BE49-F238E27FC236}">
                <a16:creationId xmlns:a16="http://schemas.microsoft.com/office/drawing/2014/main" id="{F8C8195A-E65C-C748-0B05-1EB295744436}"/>
              </a:ext>
            </a:extLst>
          </p:cNvPr>
          <p:cNvSpPr/>
          <p:nvPr/>
        </p:nvSpPr>
        <p:spPr>
          <a:xfrm>
            <a:off x="4141452" y="3482968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577358EA-9CBC-F8B5-5D8B-EFD8D72B7B24}"/>
              </a:ext>
            </a:extLst>
          </p:cNvPr>
          <p:cNvSpPr/>
          <p:nvPr/>
        </p:nvSpPr>
        <p:spPr>
          <a:xfrm>
            <a:off x="4141054" y="4102076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3C860DA7-44F5-D488-723C-777B08E21324}"/>
              </a:ext>
            </a:extLst>
          </p:cNvPr>
          <p:cNvSpPr/>
          <p:nvPr/>
        </p:nvSpPr>
        <p:spPr>
          <a:xfrm>
            <a:off x="4150554" y="4721720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F9881802-BECA-1AC9-972A-BB4E5EE44FEF}"/>
              </a:ext>
            </a:extLst>
          </p:cNvPr>
          <p:cNvSpPr/>
          <p:nvPr/>
        </p:nvSpPr>
        <p:spPr>
          <a:xfrm>
            <a:off x="6305340" y="6398740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07805F07-CA81-1FDC-150C-23F568A6871D}"/>
              </a:ext>
            </a:extLst>
          </p:cNvPr>
          <p:cNvSpPr/>
          <p:nvPr/>
        </p:nvSpPr>
        <p:spPr>
          <a:xfrm>
            <a:off x="5193466" y="4092682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D0C2B3CA-6192-F84A-6D55-36BF201B0A4F}"/>
              </a:ext>
            </a:extLst>
          </p:cNvPr>
          <p:cNvSpPr/>
          <p:nvPr/>
        </p:nvSpPr>
        <p:spPr>
          <a:xfrm>
            <a:off x="4141052" y="6561529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1EE58DEE-855D-6F1E-C13C-C539AB96666E}"/>
              </a:ext>
            </a:extLst>
          </p:cNvPr>
          <p:cNvSpPr/>
          <p:nvPr/>
        </p:nvSpPr>
        <p:spPr>
          <a:xfrm>
            <a:off x="4141053" y="5340097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BCC8AB9E-80E0-D610-1685-4E58456D3875}"/>
              </a:ext>
            </a:extLst>
          </p:cNvPr>
          <p:cNvSpPr/>
          <p:nvPr/>
        </p:nvSpPr>
        <p:spPr>
          <a:xfrm>
            <a:off x="4150553" y="5950813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05CC20AC-3B14-F10B-B456-B018A7E9F4D6}"/>
              </a:ext>
            </a:extLst>
          </p:cNvPr>
          <p:cNvSpPr/>
          <p:nvPr/>
        </p:nvSpPr>
        <p:spPr>
          <a:xfrm>
            <a:off x="5203044" y="4721142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07386110-831B-F5FA-DCE7-A06A96BD33B5}"/>
              </a:ext>
            </a:extLst>
          </p:cNvPr>
          <p:cNvSpPr/>
          <p:nvPr/>
        </p:nvSpPr>
        <p:spPr>
          <a:xfrm>
            <a:off x="5219598" y="5340097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D5223B01-80A2-62C4-742E-CBFCBCCC3313}"/>
              </a:ext>
            </a:extLst>
          </p:cNvPr>
          <p:cNvSpPr/>
          <p:nvPr/>
        </p:nvSpPr>
        <p:spPr>
          <a:xfrm>
            <a:off x="5205017" y="6561527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D4C90DEE-2547-D8D5-AB57-76D14876E8FF}"/>
              </a:ext>
            </a:extLst>
          </p:cNvPr>
          <p:cNvSpPr/>
          <p:nvPr/>
        </p:nvSpPr>
        <p:spPr>
          <a:xfrm>
            <a:off x="5203043" y="5950812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71868578-147D-6347-9E15-20008C492321}"/>
              </a:ext>
            </a:extLst>
          </p:cNvPr>
          <p:cNvSpPr/>
          <p:nvPr/>
        </p:nvSpPr>
        <p:spPr>
          <a:xfrm>
            <a:off x="5181646" y="3473136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7FC2B52B-B2AE-AFAD-FE82-D795B54E1359}"/>
              </a:ext>
            </a:extLst>
          </p:cNvPr>
          <p:cNvCxnSpPr>
            <a:stCxn id="3" idx="2"/>
          </p:cNvCxnSpPr>
          <p:nvPr/>
        </p:nvCxnSpPr>
        <p:spPr bwMode="auto">
          <a:xfrm flipH="1">
            <a:off x="5064049" y="3215214"/>
            <a:ext cx="1" cy="16344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7215AD47-7D24-97D5-D7D8-D49E74C72C8B}"/>
              </a:ext>
            </a:extLst>
          </p:cNvPr>
          <p:cNvCxnSpPr/>
          <p:nvPr/>
        </p:nvCxnSpPr>
        <p:spPr bwMode="auto">
          <a:xfrm flipH="1">
            <a:off x="4547391" y="3388179"/>
            <a:ext cx="516658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5E02948F-6E8C-92DB-22F8-9D6F5E9AB16E}"/>
              </a:ext>
            </a:extLst>
          </p:cNvPr>
          <p:cNvCxnSpPr/>
          <p:nvPr/>
        </p:nvCxnSpPr>
        <p:spPr bwMode="auto">
          <a:xfrm>
            <a:off x="5064049" y="3388179"/>
            <a:ext cx="514435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DDEDE7EC-A770-4BEC-50BF-635E7A16FFB1}"/>
              </a:ext>
            </a:extLst>
          </p:cNvPr>
          <p:cNvCxnSpPr>
            <a:cxnSpLocks/>
          </p:cNvCxnSpPr>
          <p:nvPr/>
        </p:nvCxnSpPr>
        <p:spPr bwMode="auto">
          <a:xfrm>
            <a:off x="5578484" y="3388179"/>
            <a:ext cx="58845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11DB7A60-078B-6768-9713-F7EC0E21CB4E}"/>
              </a:ext>
            </a:extLst>
          </p:cNvPr>
          <p:cNvCxnSpPr/>
          <p:nvPr/>
        </p:nvCxnSpPr>
        <p:spPr bwMode="auto">
          <a:xfrm>
            <a:off x="6166934" y="3388179"/>
            <a:ext cx="0" cy="284333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21AFBF95-1AC4-6BD7-8318-F0825C661DF0}"/>
              </a:ext>
            </a:extLst>
          </p:cNvPr>
          <p:cNvCxnSpPr>
            <a:cxnSpLocks/>
          </p:cNvCxnSpPr>
          <p:nvPr/>
        </p:nvCxnSpPr>
        <p:spPr bwMode="auto">
          <a:xfrm>
            <a:off x="6166934" y="6231513"/>
            <a:ext cx="0" cy="63003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D93D36AC-D4E1-E41D-E0A4-82E786386D8A}"/>
              </a:ext>
            </a:extLst>
          </p:cNvPr>
          <p:cNvCxnSpPr>
            <a:cxnSpLocks/>
            <a:stCxn id="214" idx="3"/>
          </p:cNvCxnSpPr>
          <p:nvPr/>
        </p:nvCxnSpPr>
        <p:spPr bwMode="auto">
          <a:xfrm>
            <a:off x="5975323" y="3773162"/>
            <a:ext cx="179836" cy="883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2048C92F-07CE-D7A6-B843-19DA94FA4DD7}"/>
              </a:ext>
            </a:extLst>
          </p:cNvPr>
          <p:cNvCxnSpPr>
            <a:stCxn id="206" idx="3"/>
          </p:cNvCxnSpPr>
          <p:nvPr/>
        </p:nvCxnSpPr>
        <p:spPr bwMode="auto">
          <a:xfrm>
            <a:off x="5987143" y="4392708"/>
            <a:ext cx="179791" cy="93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2A06557F-4A31-3D4A-EFAB-26F5B7348EFE}"/>
              </a:ext>
            </a:extLst>
          </p:cNvPr>
          <p:cNvCxnSpPr>
            <a:stCxn id="210" idx="3"/>
          </p:cNvCxnSpPr>
          <p:nvPr/>
        </p:nvCxnSpPr>
        <p:spPr bwMode="auto">
          <a:xfrm flipV="1">
            <a:off x="5996721" y="5021167"/>
            <a:ext cx="170213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8AB58DD7-68B2-45CF-5090-11157072B013}"/>
              </a:ext>
            </a:extLst>
          </p:cNvPr>
          <p:cNvCxnSpPr>
            <a:stCxn id="211" idx="3"/>
          </p:cNvCxnSpPr>
          <p:nvPr/>
        </p:nvCxnSpPr>
        <p:spPr bwMode="auto">
          <a:xfrm flipV="1">
            <a:off x="6013275" y="5640122"/>
            <a:ext cx="153659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949D4615-8148-D817-15AE-EED5D7A99621}"/>
              </a:ext>
            </a:extLst>
          </p:cNvPr>
          <p:cNvCxnSpPr>
            <a:stCxn id="213" idx="3"/>
          </p:cNvCxnSpPr>
          <p:nvPr/>
        </p:nvCxnSpPr>
        <p:spPr bwMode="auto">
          <a:xfrm flipV="1">
            <a:off x="5996720" y="6250837"/>
            <a:ext cx="170214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E5145398-25E5-4E8E-3138-E0B92A5AADDD}"/>
              </a:ext>
            </a:extLst>
          </p:cNvPr>
          <p:cNvCxnSpPr>
            <a:stCxn id="212" idx="3"/>
          </p:cNvCxnSpPr>
          <p:nvPr/>
        </p:nvCxnSpPr>
        <p:spPr bwMode="auto">
          <a:xfrm>
            <a:off x="5998694" y="6861553"/>
            <a:ext cx="168240" cy="86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571B7B4C-BFFD-7666-0114-725DC5095EE6}"/>
              </a:ext>
            </a:extLst>
          </p:cNvPr>
          <p:cNvCxnSpPr>
            <a:cxnSpLocks/>
          </p:cNvCxnSpPr>
          <p:nvPr/>
        </p:nvCxnSpPr>
        <p:spPr bwMode="auto">
          <a:xfrm flipH="1">
            <a:off x="3946395" y="3388179"/>
            <a:ext cx="60099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7B2B8042-9BB2-B120-1F58-EECAB89F94FB}"/>
              </a:ext>
            </a:extLst>
          </p:cNvPr>
          <p:cNvCxnSpPr/>
          <p:nvPr/>
        </p:nvCxnSpPr>
        <p:spPr bwMode="auto">
          <a:xfrm>
            <a:off x="3946395" y="3378654"/>
            <a:ext cx="0" cy="34820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4879A844-F75B-C4A3-F18A-67F231944F98}"/>
              </a:ext>
            </a:extLst>
          </p:cNvPr>
          <p:cNvCxnSpPr>
            <a:stCxn id="202" idx="1"/>
          </p:cNvCxnSpPr>
          <p:nvPr/>
        </p:nvCxnSpPr>
        <p:spPr bwMode="auto">
          <a:xfrm flipH="1" flipV="1">
            <a:off x="3946395" y="3781993"/>
            <a:ext cx="195057" cy="10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A8542140-AAB3-1BB1-0BA3-9D201725FDC5}"/>
              </a:ext>
            </a:extLst>
          </p:cNvPr>
          <p:cNvCxnSpPr>
            <a:stCxn id="203" idx="1"/>
          </p:cNvCxnSpPr>
          <p:nvPr/>
        </p:nvCxnSpPr>
        <p:spPr bwMode="auto">
          <a:xfrm flipH="1" flipV="1">
            <a:off x="3946395" y="4402101"/>
            <a:ext cx="194659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211BEBAC-7991-783A-8516-E06A1BDCC3AB}"/>
              </a:ext>
            </a:extLst>
          </p:cNvPr>
          <p:cNvCxnSpPr>
            <a:stCxn id="204" idx="1"/>
          </p:cNvCxnSpPr>
          <p:nvPr/>
        </p:nvCxnSpPr>
        <p:spPr bwMode="auto">
          <a:xfrm flipH="1" flipV="1">
            <a:off x="3946395" y="5021167"/>
            <a:ext cx="204159" cy="5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492DF6C2-F6C8-5C08-515A-8A0F11526904}"/>
              </a:ext>
            </a:extLst>
          </p:cNvPr>
          <p:cNvCxnSpPr>
            <a:stCxn id="208" idx="1"/>
          </p:cNvCxnSpPr>
          <p:nvPr/>
        </p:nvCxnSpPr>
        <p:spPr bwMode="auto">
          <a:xfrm flipH="1" flipV="1">
            <a:off x="3946395" y="5640122"/>
            <a:ext cx="194658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6960E254-0A65-0F9F-8ED4-3F6663C567B9}"/>
              </a:ext>
            </a:extLst>
          </p:cNvPr>
          <p:cNvCxnSpPr>
            <a:stCxn id="209" idx="1"/>
          </p:cNvCxnSpPr>
          <p:nvPr/>
        </p:nvCxnSpPr>
        <p:spPr bwMode="auto">
          <a:xfrm flipH="1" flipV="1">
            <a:off x="3946395" y="6250837"/>
            <a:ext cx="204158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A0EB8479-D729-47F2-1715-B9C8D5488E1D}"/>
              </a:ext>
            </a:extLst>
          </p:cNvPr>
          <p:cNvCxnSpPr>
            <a:stCxn id="207" idx="1"/>
          </p:cNvCxnSpPr>
          <p:nvPr/>
        </p:nvCxnSpPr>
        <p:spPr bwMode="auto">
          <a:xfrm flipH="1" flipV="1">
            <a:off x="3946395" y="6860691"/>
            <a:ext cx="194657" cy="8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B66D1D94-BD2F-4129-5671-52A220808CE0}"/>
              </a:ext>
            </a:extLst>
          </p:cNvPr>
          <p:cNvCxnSpPr>
            <a:cxnSpLocks/>
            <a:stCxn id="205" idx="1"/>
          </p:cNvCxnSpPr>
          <p:nvPr/>
        </p:nvCxnSpPr>
        <p:spPr bwMode="auto">
          <a:xfrm flipH="1">
            <a:off x="6166934" y="6698766"/>
            <a:ext cx="1384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1" name="Rectangle 280">
            <a:extLst>
              <a:ext uri="{FF2B5EF4-FFF2-40B4-BE49-F238E27FC236}">
                <a16:creationId xmlns:a16="http://schemas.microsoft.com/office/drawing/2014/main" id="{ED1A48E9-738C-AE9C-D697-A89E3BEF4FC7}"/>
              </a:ext>
            </a:extLst>
          </p:cNvPr>
          <p:cNvSpPr/>
          <p:nvPr/>
        </p:nvSpPr>
        <p:spPr>
          <a:xfrm>
            <a:off x="7424417" y="3449022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FB287C2E-E763-B43C-783D-4BBECC6E24A4}"/>
              </a:ext>
            </a:extLst>
          </p:cNvPr>
          <p:cNvSpPr/>
          <p:nvPr/>
        </p:nvSpPr>
        <p:spPr>
          <a:xfrm>
            <a:off x="7396490" y="4050950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150AF304-C496-DF4D-4CA4-B3D1AB0971FD}"/>
              </a:ext>
            </a:extLst>
          </p:cNvPr>
          <p:cNvSpPr/>
          <p:nvPr/>
        </p:nvSpPr>
        <p:spPr>
          <a:xfrm>
            <a:off x="7396490" y="4643942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7813AC7C-1808-C4D8-30F8-109971F70CCF}"/>
              </a:ext>
            </a:extLst>
          </p:cNvPr>
          <p:cNvSpPr/>
          <p:nvPr/>
        </p:nvSpPr>
        <p:spPr>
          <a:xfrm>
            <a:off x="7398522" y="5236934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032DF598-E39C-F9FB-7CF8-277BC6E1A774}"/>
              </a:ext>
            </a:extLst>
          </p:cNvPr>
          <p:cNvSpPr/>
          <p:nvPr/>
        </p:nvSpPr>
        <p:spPr>
          <a:xfrm>
            <a:off x="8638637" y="4057984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5636A576-395D-0393-B2A4-E26BFF9D72CC}"/>
              </a:ext>
            </a:extLst>
          </p:cNvPr>
          <p:cNvSpPr/>
          <p:nvPr/>
        </p:nvSpPr>
        <p:spPr>
          <a:xfrm>
            <a:off x="8638638" y="4660678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BF2DE472-C2C3-9749-3896-90BEA3AAB822}"/>
              </a:ext>
            </a:extLst>
          </p:cNvPr>
          <p:cNvSpPr/>
          <p:nvPr/>
        </p:nvSpPr>
        <p:spPr>
          <a:xfrm>
            <a:off x="7411871" y="5864436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7AC6D009-F76D-EDBD-020A-F0889C899516}"/>
              </a:ext>
            </a:extLst>
          </p:cNvPr>
          <p:cNvSpPr/>
          <p:nvPr/>
        </p:nvSpPr>
        <p:spPr>
          <a:xfrm>
            <a:off x="8640670" y="6466008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BA74EFD7-8CFA-A6F6-B5F4-FADB1620ABDB}"/>
              </a:ext>
            </a:extLst>
          </p:cNvPr>
          <p:cNvSpPr/>
          <p:nvPr/>
        </p:nvSpPr>
        <p:spPr>
          <a:xfrm>
            <a:off x="8640670" y="5256185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6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36166430-8CCE-D402-1CC6-397FF0C7BB05}"/>
              </a:ext>
            </a:extLst>
          </p:cNvPr>
          <p:cNvSpPr/>
          <p:nvPr/>
        </p:nvSpPr>
        <p:spPr>
          <a:xfrm>
            <a:off x="8629369" y="5864435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554F467F-E601-F4FF-672B-EF4DD4379C5B}"/>
              </a:ext>
            </a:extLst>
          </p:cNvPr>
          <p:cNvSpPr/>
          <p:nvPr/>
        </p:nvSpPr>
        <p:spPr>
          <a:xfrm>
            <a:off x="7398522" y="6477820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3D4C0AB1-0435-77E1-9B89-36FF59FD4B50}"/>
              </a:ext>
            </a:extLst>
          </p:cNvPr>
          <p:cNvSpPr/>
          <p:nvPr/>
        </p:nvSpPr>
        <p:spPr>
          <a:xfrm>
            <a:off x="8638637" y="3465566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Despatcher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E224BAE8-93BA-7BA7-2505-15850C15C685}"/>
              </a:ext>
            </a:extLst>
          </p:cNvPr>
          <p:cNvSpPr/>
          <p:nvPr/>
        </p:nvSpPr>
        <p:spPr>
          <a:xfrm>
            <a:off x="9840082" y="6193952"/>
            <a:ext cx="793677" cy="676259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VACANT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0.9FTE</a:t>
            </a:r>
          </a:p>
        </p:txBody>
      </p: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2D2C9201-BEBC-332E-5984-833D99EE1466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>
            <a:off x="8322684" y="3215214"/>
            <a:ext cx="0" cy="17296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9" name="Straight Connector 298">
            <a:extLst>
              <a:ext uri="{FF2B5EF4-FFF2-40B4-BE49-F238E27FC236}">
                <a16:creationId xmlns:a16="http://schemas.microsoft.com/office/drawing/2014/main" id="{81A7138C-C2BA-D075-1A19-3EBC13DCCE9F}"/>
              </a:ext>
            </a:extLst>
          </p:cNvPr>
          <p:cNvCxnSpPr/>
          <p:nvPr/>
        </p:nvCxnSpPr>
        <p:spPr bwMode="auto">
          <a:xfrm flipH="1">
            <a:off x="7751858" y="3369129"/>
            <a:ext cx="48094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E4B9EA1E-4849-8C8A-2CC8-08EE81DACCBB}"/>
              </a:ext>
            </a:extLst>
          </p:cNvPr>
          <p:cNvCxnSpPr/>
          <p:nvPr/>
        </p:nvCxnSpPr>
        <p:spPr bwMode="auto">
          <a:xfrm>
            <a:off x="8232801" y="3369129"/>
            <a:ext cx="888852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id="{93D8F2A1-8458-0DD6-0A0B-986D17622D2C}"/>
              </a:ext>
            </a:extLst>
          </p:cNvPr>
          <p:cNvCxnSpPr/>
          <p:nvPr/>
        </p:nvCxnSpPr>
        <p:spPr bwMode="auto">
          <a:xfrm flipH="1">
            <a:off x="7216653" y="3369129"/>
            <a:ext cx="535205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C3E311B8-E45C-045F-392C-DEDB2141FA03}"/>
              </a:ext>
            </a:extLst>
          </p:cNvPr>
          <p:cNvCxnSpPr/>
          <p:nvPr/>
        </p:nvCxnSpPr>
        <p:spPr bwMode="auto">
          <a:xfrm>
            <a:off x="7207128" y="3369129"/>
            <a:ext cx="0" cy="342487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E57C9B77-BEB0-EBB4-B737-3498CFD0A276}"/>
              </a:ext>
            </a:extLst>
          </p:cNvPr>
          <p:cNvCxnSpPr/>
          <p:nvPr/>
        </p:nvCxnSpPr>
        <p:spPr bwMode="auto">
          <a:xfrm>
            <a:off x="9041025" y="3369129"/>
            <a:ext cx="58545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3CA1CE3D-B2C6-C34C-2995-8318C2293CC7}"/>
              </a:ext>
            </a:extLst>
          </p:cNvPr>
          <p:cNvCxnSpPr/>
          <p:nvPr/>
        </p:nvCxnSpPr>
        <p:spPr bwMode="auto">
          <a:xfrm>
            <a:off x="9616953" y="3369129"/>
            <a:ext cx="0" cy="32963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320513DB-1D82-7C04-DE03-D8BFB523B995}"/>
              </a:ext>
            </a:extLst>
          </p:cNvPr>
          <p:cNvCxnSpPr>
            <a:stCxn id="292" idx="3"/>
          </p:cNvCxnSpPr>
          <p:nvPr/>
        </p:nvCxnSpPr>
        <p:spPr bwMode="auto">
          <a:xfrm flipV="1">
            <a:off x="9432314" y="3765591"/>
            <a:ext cx="194164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515D7ED7-7765-8EF8-EFE5-B8E549F7CEA4}"/>
              </a:ext>
            </a:extLst>
          </p:cNvPr>
          <p:cNvCxnSpPr>
            <a:stCxn id="285" idx="3"/>
          </p:cNvCxnSpPr>
          <p:nvPr/>
        </p:nvCxnSpPr>
        <p:spPr bwMode="auto">
          <a:xfrm>
            <a:off x="9432314" y="4358010"/>
            <a:ext cx="194164" cy="66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9A1C7A0E-82D9-30CF-B339-E05A55043EC2}"/>
              </a:ext>
            </a:extLst>
          </p:cNvPr>
          <p:cNvCxnSpPr>
            <a:stCxn id="286" idx="3"/>
          </p:cNvCxnSpPr>
          <p:nvPr/>
        </p:nvCxnSpPr>
        <p:spPr bwMode="auto">
          <a:xfrm flipV="1">
            <a:off x="9432315" y="4959580"/>
            <a:ext cx="194163" cy="11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EE3A2593-90E8-17A3-5E89-B7554639F817}"/>
              </a:ext>
            </a:extLst>
          </p:cNvPr>
          <p:cNvCxnSpPr>
            <a:stCxn id="289" idx="3"/>
          </p:cNvCxnSpPr>
          <p:nvPr/>
        </p:nvCxnSpPr>
        <p:spPr bwMode="auto">
          <a:xfrm>
            <a:off x="9434347" y="5556211"/>
            <a:ext cx="182606" cy="88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77878F60-F047-22AD-C3BF-7606ACA6905D}"/>
              </a:ext>
            </a:extLst>
          </p:cNvPr>
          <p:cNvCxnSpPr>
            <a:stCxn id="290" idx="3"/>
          </p:cNvCxnSpPr>
          <p:nvPr/>
        </p:nvCxnSpPr>
        <p:spPr bwMode="auto">
          <a:xfrm>
            <a:off x="9423046" y="6164461"/>
            <a:ext cx="19390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9379BB9D-5306-FB36-39C9-069B9B92289B}"/>
              </a:ext>
            </a:extLst>
          </p:cNvPr>
          <p:cNvCxnSpPr>
            <a:stCxn id="288" idx="3"/>
          </p:cNvCxnSpPr>
          <p:nvPr/>
        </p:nvCxnSpPr>
        <p:spPr bwMode="auto">
          <a:xfrm flipV="1">
            <a:off x="9434347" y="6766033"/>
            <a:ext cx="182606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247F0FA-0ECD-0AD2-26CD-FDB96A6534CF}"/>
              </a:ext>
            </a:extLst>
          </p:cNvPr>
          <p:cNvCxnSpPr>
            <a:cxnSpLocks/>
          </p:cNvCxnSpPr>
          <p:nvPr/>
        </p:nvCxnSpPr>
        <p:spPr bwMode="auto">
          <a:xfrm>
            <a:off x="9616953" y="6646103"/>
            <a:ext cx="0" cy="11993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74667C4E-3B37-83A4-AD33-869CC0F018E4}"/>
              </a:ext>
            </a:extLst>
          </p:cNvPr>
          <p:cNvCxnSpPr>
            <a:stCxn id="281" idx="1"/>
          </p:cNvCxnSpPr>
          <p:nvPr/>
        </p:nvCxnSpPr>
        <p:spPr bwMode="auto">
          <a:xfrm flipH="1" flipV="1">
            <a:off x="7244581" y="3749047"/>
            <a:ext cx="179836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FBE0EB19-B854-3D1E-78BA-0A06577E0693}"/>
              </a:ext>
            </a:extLst>
          </p:cNvPr>
          <p:cNvCxnSpPr>
            <a:stCxn id="282" idx="1"/>
          </p:cNvCxnSpPr>
          <p:nvPr/>
        </p:nvCxnSpPr>
        <p:spPr bwMode="auto">
          <a:xfrm flipH="1" flipV="1">
            <a:off x="7207128" y="4342965"/>
            <a:ext cx="189362" cy="80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7321BC98-9FD3-C50C-5373-ABEC989A2EEF}"/>
              </a:ext>
            </a:extLst>
          </p:cNvPr>
          <p:cNvCxnSpPr>
            <a:stCxn id="283" idx="1"/>
          </p:cNvCxnSpPr>
          <p:nvPr/>
        </p:nvCxnSpPr>
        <p:spPr bwMode="auto">
          <a:xfrm flipH="1" flipV="1">
            <a:off x="7207128" y="4943967"/>
            <a:ext cx="189362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BDCA156B-05B2-D3AD-CC19-82B96B25C35E}"/>
              </a:ext>
            </a:extLst>
          </p:cNvPr>
          <p:cNvCxnSpPr>
            <a:stCxn id="284" idx="1"/>
          </p:cNvCxnSpPr>
          <p:nvPr/>
        </p:nvCxnSpPr>
        <p:spPr bwMode="auto">
          <a:xfrm flipH="1" flipV="1">
            <a:off x="7207128" y="5536959"/>
            <a:ext cx="191394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B9F7B4BA-149F-01D1-D64A-D21513F71FB3}"/>
              </a:ext>
            </a:extLst>
          </p:cNvPr>
          <p:cNvCxnSpPr>
            <a:stCxn id="287" idx="1"/>
          </p:cNvCxnSpPr>
          <p:nvPr/>
        </p:nvCxnSpPr>
        <p:spPr bwMode="auto">
          <a:xfrm flipH="1" flipV="1">
            <a:off x="7216653" y="6164460"/>
            <a:ext cx="195218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469C629E-E453-3F81-59D8-30DF5365EC5D}"/>
              </a:ext>
            </a:extLst>
          </p:cNvPr>
          <p:cNvCxnSpPr>
            <a:stCxn id="291" idx="1"/>
          </p:cNvCxnSpPr>
          <p:nvPr/>
        </p:nvCxnSpPr>
        <p:spPr bwMode="auto">
          <a:xfrm flipH="1" flipV="1">
            <a:off x="7216653" y="6777845"/>
            <a:ext cx="181869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AF88646C-C6D4-5F67-51A1-93DC95988677}"/>
              </a:ext>
            </a:extLst>
          </p:cNvPr>
          <p:cNvCxnSpPr>
            <a:cxnSpLocks/>
            <a:stCxn id="293" idx="1"/>
          </p:cNvCxnSpPr>
          <p:nvPr/>
        </p:nvCxnSpPr>
        <p:spPr bwMode="auto">
          <a:xfrm flipH="1" flipV="1">
            <a:off x="9625740" y="6493977"/>
            <a:ext cx="214342" cy="3810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4" name="Title 3">
            <a:extLst>
              <a:ext uri="{FF2B5EF4-FFF2-40B4-BE49-F238E27FC236}">
                <a16:creationId xmlns:a16="http://schemas.microsoft.com/office/drawing/2014/main" id="{852A8247-A49A-8465-C17A-B6A31ABCDD54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Arial"/>
              </a:rPr>
              <a:t>Parking Enforcement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anose="020B0600070205080204" pitchFamily="34" charset="-128"/>
              <a:cs typeface="+mj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4CA122-F24C-7A8E-1C3B-A62B3F20EADE}"/>
              </a:ext>
            </a:extLst>
          </p:cNvPr>
          <p:cNvSpPr/>
          <p:nvPr/>
        </p:nvSpPr>
        <p:spPr>
          <a:xfrm>
            <a:off x="2776795" y="5131934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Despatch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(Vacant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CC2172-DAC0-BD3F-25FD-A08B93DDB3B4}"/>
              </a:ext>
            </a:extLst>
          </p:cNvPr>
          <p:cNvSpPr/>
          <p:nvPr/>
        </p:nvSpPr>
        <p:spPr>
          <a:xfrm>
            <a:off x="6275045" y="5731985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6DCAF5-C95C-92EB-B46A-62F7530C6D6B}"/>
              </a:ext>
            </a:extLst>
          </p:cNvPr>
          <p:cNvSpPr/>
          <p:nvPr/>
        </p:nvSpPr>
        <p:spPr>
          <a:xfrm>
            <a:off x="9821695" y="5464024"/>
            <a:ext cx="793677" cy="676259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8D3981-4748-E98C-8AB4-7302C7BEAC69}"/>
              </a:ext>
            </a:extLst>
          </p:cNvPr>
          <p:cNvSpPr/>
          <p:nvPr/>
        </p:nvSpPr>
        <p:spPr>
          <a:xfrm>
            <a:off x="6281589" y="5081566"/>
            <a:ext cx="793677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ivil Enforcement Offic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38D799-4A4F-F50E-B4DB-208165AC790D}"/>
              </a:ext>
            </a:extLst>
          </p:cNvPr>
          <p:cNvSpPr/>
          <p:nvPr/>
        </p:nvSpPr>
        <p:spPr>
          <a:xfrm>
            <a:off x="9516711" y="2195535"/>
            <a:ext cx="793677" cy="600051"/>
          </a:xfrm>
          <a:prstGeom prst="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NB: ALL Civil Enforcement Officer and Despatchers 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</p:spTree>
    <p:extLst>
      <p:ext uri="{BB962C8B-B14F-4D97-AF65-F5344CB8AC3E}">
        <p14:creationId xmlns:p14="http://schemas.microsoft.com/office/powerpoint/2010/main" val="234001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825F22-851E-B012-FEF8-08394DAC2867}"/>
              </a:ext>
            </a:extLst>
          </p:cNvPr>
          <p:cNvSpPr/>
          <p:nvPr/>
        </p:nvSpPr>
        <p:spPr>
          <a:xfrm>
            <a:off x="3949711" y="177130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Infrastructure Manager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arde 15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4D2C7-AF7A-E449-55C1-BF6B9F89D9EB}"/>
              </a:ext>
            </a:extLst>
          </p:cNvPr>
          <p:cNvCxnSpPr>
            <a:stCxn id="5" idx="2"/>
          </p:cNvCxnSpPr>
          <p:nvPr/>
        </p:nvCxnSpPr>
        <p:spPr bwMode="auto">
          <a:xfrm>
            <a:off x="5466876" y="1039005"/>
            <a:ext cx="0" cy="381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17FBD14-8282-F615-BD9B-1C84830956A7}"/>
              </a:ext>
            </a:extLst>
          </p:cNvPr>
          <p:cNvCxnSpPr>
            <a:cxnSpLocks/>
          </p:cNvCxnSpPr>
          <p:nvPr/>
        </p:nvCxnSpPr>
        <p:spPr bwMode="auto">
          <a:xfrm>
            <a:off x="2393477" y="1558883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4A357CA-C651-A219-2561-326F49CC3760}"/>
              </a:ext>
            </a:extLst>
          </p:cNvPr>
          <p:cNvSpPr/>
          <p:nvPr/>
        </p:nvSpPr>
        <p:spPr>
          <a:xfrm>
            <a:off x="1783496" y="2094114"/>
            <a:ext cx="1989409" cy="128451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uspension Superviso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8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50CBC81-BD3B-40B7-896B-3B9FE0D21605}"/>
              </a:ext>
            </a:extLst>
          </p:cNvPr>
          <p:cNvSpPr/>
          <p:nvPr/>
        </p:nvSpPr>
        <p:spPr>
          <a:xfrm>
            <a:off x="1007495" y="355741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Field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945C61-4F54-06D3-D589-2AA4B4383729}"/>
              </a:ext>
            </a:extLst>
          </p:cNvPr>
          <p:cNvSpPr/>
          <p:nvPr/>
        </p:nvSpPr>
        <p:spPr>
          <a:xfrm>
            <a:off x="2912471" y="355741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Field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A416459-1D19-49F0-003F-9288EA3D65C6}"/>
              </a:ext>
            </a:extLst>
          </p:cNvPr>
          <p:cNvSpPr/>
          <p:nvPr/>
        </p:nvSpPr>
        <p:spPr>
          <a:xfrm>
            <a:off x="1007494" y="4774293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Field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40F137-A0EA-8F13-ECA3-CED832F5CBA5}"/>
              </a:ext>
            </a:extLst>
          </p:cNvPr>
          <p:cNvSpPr/>
          <p:nvPr/>
        </p:nvSpPr>
        <p:spPr>
          <a:xfrm>
            <a:off x="2912471" y="4774293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Field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 (additional duties Highways Maintenance)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EA0A2D0-210A-4EB2-1558-1A0C08E20702}"/>
              </a:ext>
            </a:extLst>
          </p:cNvPr>
          <p:cNvSpPr/>
          <p:nvPr/>
        </p:nvSpPr>
        <p:spPr>
          <a:xfrm>
            <a:off x="1959983" y="6023963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 err="1">
                <a:latin typeface="Arial" pitchFamily="34" charset="0"/>
                <a:cs typeface="Arial" pitchFamily="34" charset="0"/>
              </a:rPr>
              <a:t>Infrastracture</a:t>
            </a:r>
            <a:r>
              <a:rPr lang="en-US" sz="800" b="1" dirty="0">
                <a:latin typeface="Arial" pitchFamily="34" charset="0"/>
                <a:cs typeface="Arial" pitchFamily="34" charset="0"/>
              </a:rPr>
              <a:t>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18F4005-09D2-5F65-9FEA-F30B3255E78B}"/>
              </a:ext>
            </a:extLst>
          </p:cNvPr>
          <p:cNvCxnSpPr>
            <a:cxnSpLocks/>
          </p:cNvCxnSpPr>
          <p:nvPr/>
        </p:nvCxnSpPr>
        <p:spPr bwMode="auto">
          <a:xfrm flipV="1">
            <a:off x="2778200" y="1523099"/>
            <a:ext cx="4660986" cy="1578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ED25A0C-15E3-B989-D229-522AA0AF8DB7}"/>
              </a:ext>
            </a:extLst>
          </p:cNvPr>
          <p:cNvCxnSpPr/>
          <p:nvPr/>
        </p:nvCxnSpPr>
        <p:spPr bwMode="auto">
          <a:xfrm>
            <a:off x="2778200" y="1538887"/>
            <a:ext cx="0" cy="59869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99FDED-6DDB-761C-16C0-09DD3E7CD6F7}"/>
              </a:ext>
            </a:extLst>
          </p:cNvPr>
          <p:cNvCxnSpPr>
            <a:cxnSpLocks/>
          </p:cNvCxnSpPr>
          <p:nvPr/>
        </p:nvCxnSpPr>
        <p:spPr bwMode="auto">
          <a:xfrm flipV="1">
            <a:off x="7436703" y="1523099"/>
            <a:ext cx="1863" cy="57101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CE5AB28B-170D-02C4-14C5-F59C3B3C5AF6}"/>
              </a:ext>
            </a:extLst>
          </p:cNvPr>
          <p:cNvSpPr/>
          <p:nvPr/>
        </p:nvSpPr>
        <p:spPr>
          <a:xfrm>
            <a:off x="6654994" y="2094113"/>
            <a:ext cx="1989409" cy="128451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Equipment Superviso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565C68A-B957-8381-76EF-295C061A496A}"/>
              </a:ext>
            </a:extLst>
          </p:cNvPr>
          <p:cNvCxnSpPr>
            <a:cxnSpLocks/>
            <a:stCxn id="11" idx="3"/>
          </p:cNvCxnSpPr>
          <p:nvPr/>
        </p:nvCxnSpPr>
        <p:spPr bwMode="auto">
          <a:xfrm>
            <a:off x="3772905" y="2736370"/>
            <a:ext cx="876587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0C3CD5A-21C4-83E3-3F58-18B107EBE8D2}"/>
              </a:ext>
            </a:extLst>
          </p:cNvPr>
          <p:cNvCxnSpPr/>
          <p:nvPr/>
        </p:nvCxnSpPr>
        <p:spPr bwMode="auto">
          <a:xfrm>
            <a:off x="4649492" y="2758698"/>
            <a:ext cx="0" cy="13793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F441BAE-AD62-F8CC-9563-119A2A1E3645}"/>
              </a:ext>
            </a:extLst>
          </p:cNvPr>
          <p:cNvCxnSpPr/>
          <p:nvPr/>
        </p:nvCxnSpPr>
        <p:spPr bwMode="auto">
          <a:xfrm>
            <a:off x="4649492" y="4153546"/>
            <a:ext cx="0" cy="114687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B4F24FE-7327-351F-B543-A5081D2D62D2}"/>
              </a:ext>
            </a:extLst>
          </p:cNvPr>
          <p:cNvCxnSpPr>
            <a:cxnSpLocks/>
          </p:cNvCxnSpPr>
          <p:nvPr/>
        </p:nvCxnSpPr>
        <p:spPr bwMode="auto">
          <a:xfrm flipH="1">
            <a:off x="4304688" y="4153546"/>
            <a:ext cx="3448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AC27D0A-4500-C7A3-D7B2-FBEA285E9BD1}"/>
              </a:ext>
            </a:extLst>
          </p:cNvPr>
          <p:cNvCxnSpPr>
            <a:stCxn id="18" idx="3"/>
          </p:cNvCxnSpPr>
          <p:nvPr/>
        </p:nvCxnSpPr>
        <p:spPr bwMode="auto">
          <a:xfrm>
            <a:off x="4304688" y="5293340"/>
            <a:ext cx="344804" cy="70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231FD46-043A-2FC9-1266-758E6138BDD2}"/>
              </a:ext>
            </a:extLst>
          </p:cNvPr>
          <p:cNvCxnSpPr/>
          <p:nvPr/>
        </p:nvCxnSpPr>
        <p:spPr bwMode="auto">
          <a:xfrm>
            <a:off x="4649492" y="5300420"/>
            <a:ext cx="0" cy="13018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8E2ED58-FFDE-43C6-A755-DA0BE769A2E9}"/>
              </a:ext>
            </a:extLst>
          </p:cNvPr>
          <p:cNvCxnSpPr>
            <a:cxnSpLocks/>
            <a:stCxn id="19" idx="3"/>
          </p:cNvCxnSpPr>
          <p:nvPr/>
        </p:nvCxnSpPr>
        <p:spPr bwMode="auto">
          <a:xfrm>
            <a:off x="3352200" y="6543010"/>
            <a:ext cx="129729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42A1704-7563-EA84-81CB-4C7BC1BE3F73}"/>
              </a:ext>
            </a:extLst>
          </p:cNvPr>
          <p:cNvCxnSpPr>
            <a:cxnSpLocks/>
            <a:stCxn id="11" idx="1"/>
          </p:cNvCxnSpPr>
          <p:nvPr/>
        </p:nvCxnSpPr>
        <p:spPr bwMode="auto">
          <a:xfrm flipH="1">
            <a:off x="712922" y="2736370"/>
            <a:ext cx="107057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9A79161-26E2-507B-162B-CF33255336BF}"/>
              </a:ext>
            </a:extLst>
          </p:cNvPr>
          <p:cNvCxnSpPr/>
          <p:nvPr/>
        </p:nvCxnSpPr>
        <p:spPr bwMode="auto">
          <a:xfrm>
            <a:off x="697424" y="2736370"/>
            <a:ext cx="0" cy="255697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F5E7667-3371-D8C7-8EA8-D1C241B02D44}"/>
              </a:ext>
            </a:extLst>
          </p:cNvPr>
          <p:cNvCxnSpPr>
            <a:stCxn id="17" idx="1"/>
          </p:cNvCxnSpPr>
          <p:nvPr/>
        </p:nvCxnSpPr>
        <p:spPr bwMode="auto">
          <a:xfrm flipH="1">
            <a:off x="712922" y="5293340"/>
            <a:ext cx="294572" cy="70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F8E76DC-E3CC-60B1-E8CE-CCA46C3D1D7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97424" y="4138047"/>
            <a:ext cx="344805" cy="1549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1B45B005-2978-F991-BC50-2DB78E434154}"/>
              </a:ext>
            </a:extLst>
          </p:cNvPr>
          <p:cNvSpPr/>
          <p:nvPr/>
        </p:nvSpPr>
        <p:spPr>
          <a:xfrm>
            <a:off x="5600698" y="4019349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Equipment Engine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8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3AC3CF6-4487-3225-4CA1-BF889C9B6F61}"/>
              </a:ext>
            </a:extLst>
          </p:cNvPr>
          <p:cNvSpPr/>
          <p:nvPr/>
        </p:nvSpPr>
        <p:spPr>
          <a:xfrm>
            <a:off x="8479426" y="4014855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Equipment Engine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8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FC100CAB-D672-D876-7DDD-BA81AF507BFC}"/>
              </a:ext>
            </a:extLst>
          </p:cNvPr>
          <p:cNvCxnSpPr>
            <a:stCxn id="3" idx="2"/>
          </p:cNvCxnSpPr>
          <p:nvPr/>
        </p:nvCxnSpPr>
        <p:spPr bwMode="auto">
          <a:xfrm flipH="1">
            <a:off x="7649698" y="3378624"/>
            <a:ext cx="1" cy="40280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E1861B3B-8E12-8783-7BD6-81B214D3BA86}"/>
              </a:ext>
            </a:extLst>
          </p:cNvPr>
          <p:cNvCxnSpPr>
            <a:cxnSpLocks/>
          </p:cNvCxnSpPr>
          <p:nvPr/>
        </p:nvCxnSpPr>
        <p:spPr bwMode="auto">
          <a:xfrm flipH="1">
            <a:off x="6296806" y="3781425"/>
            <a:ext cx="1352892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1A75A16-0EE6-EEE4-2656-3B791DEEFA02}"/>
              </a:ext>
            </a:extLst>
          </p:cNvPr>
          <p:cNvCxnSpPr>
            <a:cxnSpLocks/>
          </p:cNvCxnSpPr>
          <p:nvPr/>
        </p:nvCxnSpPr>
        <p:spPr bwMode="auto">
          <a:xfrm>
            <a:off x="7649698" y="3781425"/>
            <a:ext cx="152583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C6444C5-28AC-22CC-95A8-9E42FAD29BBC}"/>
              </a:ext>
            </a:extLst>
          </p:cNvPr>
          <p:cNvCxnSpPr>
            <a:cxnSpLocks/>
            <a:stCxn id="74" idx="0"/>
          </p:cNvCxnSpPr>
          <p:nvPr/>
        </p:nvCxnSpPr>
        <p:spPr bwMode="auto">
          <a:xfrm flipH="1" flipV="1">
            <a:off x="9175534" y="3766186"/>
            <a:ext cx="1" cy="2486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3B590E6-798A-DEF6-45DB-4D7A8EF94D61}"/>
              </a:ext>
            </a:extLst>
          </p:cNvPr>
          <p:cNvCxnSpPr>
            <a:stCxn id="73" idx="0"/>
          </p:cNvCxnSpPr>
          <p:nvPr/>
        </p:nvCxnSpPr>
        <p:spPr bwMode="auto">
          <a:xfrm flipH="1" flipV="1">
            <a:off x="6296806" y="3781425"/>
            <a:ext cx="1" cy="2379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Title 3">
            <a:extLst>
              <a:ext uri="{FF2B5EF4-FFF2-40B4-BE49-F238E27FC236}">
                <a16:creationId xmlns:a16="http://schemas.microsoft.com/office/drawing/2014/main" id="{BC86E987-5F45-2C92-05E7-D624E0476E80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panose="020B0600070205080204" pitchFamily="34" charset="-128"/>
                <a:cs typeface="+mj-cs"/>
              </a:rPr>
              <a:t>Pay &amp; Display Infrastructure &amp; Suspension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C486F51-A309-ACCD-6ABE-5C3196F3F56B}"/>
              </a:ext>
            </a:extLst>
          </p:cNvPr>
          <p:cNvSpPr/>
          <p:nvPr/>
        </p:nvSpPr>
        <p:spPr>
          <a:xfrm>
            <a:off x="7040062" y="4014855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Equipment Engine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8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44CEEAE-D170-CF96-2B9C-ABCC61BE7747}"/>
              </a:ext>
            </a:extLst>
          </p:cNvPr>
          <p:cNvCxnSpPr/>
          <p:nvPr/>
        </p:nvCxnSpPr>
        <p:spPr bwMode="auto">
          <a:xfrm flipH="1" flipV="1">
            <a:off x="7653166" y="3796665"/>
            <a:ext cx="1" cy="2379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84118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17FBD14-8282-F615-BD9B-1C84830956A7}"/>
              </a:ext>
            </a:extLst>
          </p:cNvPr>
          <p:cNvCxnSpPr>
            <a:cxnSpLocks/>
          </p:cNvCxnSpPr>
          <p:nvPr/>
        </p:nvCxnSpPr>
        <p:spPr bwMode="auto">
          <a:xfrm>
            <a:off x="2625951" y="1930842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1775E8C-1BE4-D5C5-3F7C-73E881866EE2}"/>
              </a:ext>
            </a:extLst>
          </p:cNvPr>
          <p:cNvSpPr/>
          <p:nvPr/>
        </p:nvSpPr>
        <p:spPr>
          <a:xfrm>
            <a:off x="1319686" y="1147554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Manag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9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8A6605-7186-CCDF-F4F8-5A453690F2CB}"/>
              </a:ext>
            </a:extLst>
          </p:cNvPr>
          <p:cNvSpPr/>
          <p:nvPr/>
        </p:nvSpPr>
        <p:spPr>
          <a:xfrm>
            <a:off x="5044858" y="3461868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Manag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9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8BA169-953A-CD84-2B48-18690862FB89}"/>
              </a:ext>
            </a:extLst>
          </p:cNvPr>
          <p:cNvSpPr/>
          <p:nvPr/>
        </p:nvSpPr>
        <p:spPr>
          <a:xfrm>
            <a:off x="8108800" y="1105526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Manag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9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D98AE63-A3C6-4D66-575C-E8FFE52D548C}"/>
              </a:ext>
            </a:extLst>
          </p:cNvPr>
          <p:cNvSpPr/>
          <p:nvPr/>
        </p:nvSpPr>
        <p:spPr>
          <a:xfrm>
            <a:off x="738580" y="2942821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F29AD43-5C35-55F0-F0E1-038C31E7790E}"/>
              </a:ext>
            </a:extLst>
          </p:cNvPr>
          <p:cNvSpPr/>
          <p:nvPr/>
        </p:nvSpPr>
        <p:spPr>
          <a:xfrm>
            <a:off x="699924" y="4153384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ADFBE64-0781-54D5-7AE6-C2A21FD3B539}"/>
              </a:ext>
            </a:extLst>
          </p:cNvPr>
          <p:cNvSpPr/>
          <p:nvPr/>
        </p:nvSpPr>
        <p:spPr>
          <a:xfrm>
            <a:off x="2386366" y="416777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0.6FTE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854918-CF1A-7F0F-C2AE-727C1D7E9AD9}"/>
              </a:ext>
            </a:extLst>
          </p:cNvPr>
          <p:cNvSpPr/>
          <p:nvPr/>
        </p:nvSpPr>
        <p:spPr>
          <a:xfrm>
            <a:off x="1502361" y="5579580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B3C483-82CC-D015-DCCE-72E4DC4762A0}"/>
              </a:ext>
            </a:extLst>
          </p:cNvPr>
          <p:cNvSpPr/>
          <p:nvPr/>
        </p:nvSpPr>
        <p:spPr>
          <a:xfrm>
            <a:off x="2381481" y="2942821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0.4FTE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317F361-5ADA-1D8C-6F58-D612EFA7A155}"/>
              </a:ext>
            </a:extLst>
          </p:cNvPr>
          <p:cNvCxnSpPr/>
          <p:nvPr/>
        </p:nvCxnSpPr>
        <p:spPr bwMode="auto">
          <a:xfrm>
            <a:off x="2015794" y="2185648"/>
            <a:ext cx="0" cy="604047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7332E32-9BFA-DFB8-E94F-69E5AB884DC2}"/>
              </a:ext>
            </a:extLst>
          </p:cNvPr>
          <p:cNvCxnSpPr>
            <a:cxnSpLocks/>
          </p:cNvCxnSpPr>
          <p:nvPr/>
        </p:nvCxnSpPr>
        <p:spPr bwMode="auto">
          <a:xfrm>
            <a:off x="2015794" y="2805193"/>
            <a:ext cx="196727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C3A063-564A-5476-7A4D-D68242BB17A8}"/>
              </a:ext>
            </a:extLst>
          </p:cNvPr>
          <p:cNvCxnSpPr/>
          <p:nvPr/>
        </p:nvCxnSpPr>
        <p:spPr bwMode="auto">
          <a:xfrm>
            <a:off x="3983064" y="2789695"/>
            <a:ext cx="0" cy="18971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98ABA45-FD76-F9D0-E148-68F38E3EEAFA}"/>
              </a:ext>
            </a:extLst>
          </p:cNvPr>
          <p:cNvCxnSpPr>
            <a:cxnSpLocks/>
            <a:stCxn id="11" idx="3"/>
          </p:cNvCxnSpPr>
          <p:nvPr/>
        </p:nvCxnSpPr>
        <p:spPr bwMode="auto">
          <a:xfrm>
            <a:off x="3773698" y="3461868"/>
            <a:ext cx="20936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3491E47-8B23-C625-BBD1-EAB0A9B8A8F6}"/>
              </a:ext>
            </a:extLst>
          </p:cNvPr>
          <p:cNvCxnSpPr>
            <a:stCxn id="9" idx="3"/>
          </p:cNvCxnSpPr>
          <p:nvPr/>
        </p:nvCxnSpPr>
        <p:spPr bwMode="auto">
          <a:xfrm>
            <a:off x="3778583" y="4686819"/>
            <a:ext cx="1734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C9B1B3A-2060-BB75-C4A9-48F18D75A160}"/>
              </a:ext>
            </a:extLst>
          </p:cNvPr>
          <p:cNvCxnSpPr/>
          <p:nvPr/>
        </p:nvCxnSpPr>
        <p:spPr bwMode="auto">
          <a:xfrm flipH="1" flipV="1">
            <a:off x="464949" y="2789695"/>
            <a:ext cx="1550845" cy="1549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52787BB-1453-F1A0-5261-6F6DCEA72D8F}"/>
              </a:ext>
            </a:extLst>
          </p:cNvPr>
          <p:cNvCxnSpPr/>
          <p:nvPr/>
        </p:nvCxnSpPr>
        <p:spPr bwMode="auto">
          <a:xfrm>
            <a:off x="480447" y="2805193"/>
            <a:ext cx="0" cy="1867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71A34F3-DDFC-C30F-4692-5B67F6AE7676}"/>
              </a:ext>
            </a:extLst>
          </p:cNvPr>
          <p:cNvCxnSpPr>
            <a:stCxn id="7" idx="1"/>
          </p:cNvCxnSpPr>
          <p:nvPr/>
        </p:nvCxnSpPr>
        <p:spPr bwMode="auto">
          <a:xfrm flipH="1">
            <a:off x="464949" y="3461868"/>
            <a:ext cx="27363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88FF9C2-AA24-8241-6311-3A36FC1E3A02}"/>
              </a:ext>
            </a:extLst>
          </p:cNvPr>
          <p:cNvCxnSpPr>
            <a:stCxn id="8" idx="1"/>
          </p:cNvCxnSpPr>
          <p:nvPr/>
        </p:nvCxnSpPr>
        <p:spPr bwMode="auto">
          <a:xfrm flipH="1">
            <a:off x="480447" y="4672431"/>
            <a:ext cx="219477" cy="143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688C7FBB-1638-3B15-6244-0C4F974CFE65}"/>
              </a:ext>
            </a:extLst>
          </p:cNvPr>
          <p:cNvSpPr/>
          <p:nvPr/>
        </p:nvSpPr>
        <p:spPr>
          <a:xfrm>
            <a:off x="5958779" y="5035791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38178EA-7757-F507-DC75-775C38819082}"/>
              </a:ext>
            </a:extLst>
          </p:cNvPr>
          <p:cNvSpPr/>
          <p:nvPr/>
        </p:nvSpPr>
        <p:spPr>
          <a:xfrm>
            <a:off x="4329769" y="5035791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A518516-6F63-9152-4027-C3266464E034}"/>
              </a:ext>
            </a:extLst>
          </p:cNvPr>
          <p:cNvSpPr/>
          <p:nvPr/>
        </p:nvSpPr>
        <p:spPr>
          <a:xfrm>
            <a:off x="4348749" y="6158886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AF929EA-1DF2-4B7C-9992-7F3AF3796A52}"/>
              </a:ext>
            </a:extLst>
          </p:cNvPr>
          <p:cNvSpPr/>
          <p:nvPr/>
        </p:nvSpPr>
        <p:spPr>
          <a:xfrm>
            <a:off x="5958779" y="6158886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52257B4B-3F64-CA43-E59A-D508057F235F}"/>
              </a:ext>
            </a:extLst>
          </p:cNvPr>
          <p:cNvCxnSpPr/>
          <p:nvPr/>
        </p:nvCxnSpPr>
        <p:spPr bwMode="auto">
          <a:xfrm>
            <a:off x="464949" y="4679625"/>
            <a:ext cx="0" cy="141900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F51F79E-CB91-E719-ECF3-7A51AE1BC38B}"/>
              </a:ext>
            </a:extLst>
          </p:cNvPr>
          <p:cNvCxnSpPr>
            <a:stCxn id="10" idx="1"/>
          </p:cNvCxnSpPr>
          <p:nvPr/>
        </p:nvCxnSpPr>
        <p:spPr bwMode="auto">
          <a:xfrm flipH="1">
            <a:off x="480447" y="6098627"/>
            <a:ext cx="102191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9D44AA35-8A4E-A6A3-7BBB-A997F7D590F7}"/>
              </a:ext>
            </a:extLst>
          </p:cNvPr>
          <p:cNvCxnSpPr>
            <a:stCxn id="3" idx="2"/>
          </p:cNvCxnSpPr>
          <p:nvPr/>
        </p:nvCxnSpPr>
        <p:spPr bwMode="auto">
          <a:xfrm flipH="1">
            <a:off x="5740966" y="4499962"/>
            <a:ext cx="1" cy="30451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93D154F8-C151-E7D1-18B4-943F07C592CC}"/>
              </a:ext>
            </a:extLst>
          </p:cNvPr>
          <p:cNvCxnSpPr>
            <a:cxnSpLocks/>
          </p:cNvCxnSpPr>
          <p:nvPr/>
        </p:nvCxnSpPr>
        <p:spPr bwMode="auto">
          <a:xfrm>
            <a:off x="5740966" y="4819973"/>
            <a:ext cx="1837705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36FC560B-BF69-3C6B-B7DF-42551855D5FA}"/>
              </a:ext>
            </a:extLst>
          </p:cNvPr>
          <p:cNvCxnSpPr/>
          <p:nvPr/>
        </p:nvCxnSpPr>
        <p:spPr bwMode="auto">
          <a:xfrm>
            <a:off x="4587498" y="4804474"/>
            <a:ext cx="1371281" cy="1549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E38F7C01-F508-3C89-F2BB-21C5AA150654}"/>
              </a:ext>
            </a:extLst>
          </p:cNvPr>
          <p:cNvCxnSpPr>
            <a:cxnSpLocks/>
          </p:cNvCxnSpPr>
          <p:nvPr/>
        </p:nvCxnSpPr>
        <p:spPr bwMode="auto">
          <a:xfrm>
            <a:off x="7578671" y="4819973"/>
            <a:ext cx="0" cy="185796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ED54F171-07CF-B0E8-BEF9-3C5A1EEE8DF7}"/>
              </a:ext>
            </a:extLst>
          </p:cNvPr>
          <p:cNvCxnSpPr>
            <a:stCxn id="45" idx="3"/>
          </p:cNvCxnSpPr>
          <p:nvPr/>
        </p:nvCxnSpPr>
        <p:spPr bwMode="auto">
          <a:xfrm>
            <a:off x="7350996" y="5554838"/>
            <a:ext cx="2276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1C2710E0-00F2-A10E-2984-8B58DF5A26B8}"/>
              </a:ext>
            </a:extLst>
          </p:cNvPr>
          <p:cNvCxnSpPr>
            <a:stCxn id="48" idx="3"/>
          </p:cNvCxnSpPr>
          <p:nvPr/>
        </p:nvCxnSpPr>
        <p:spPr bwMode="auto">
          <a:xfrm>
            <a:off x="7350996" y="6677933"/>
            <a:ext cx="2276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8269ECA1-0DBC-07C2-6D90-5AEDB14138EA}"/>
              </a:ext>
            </a:extLst>
          </p:cNvPr>
          <p:cNvCxnSpPr>
            <a:cxnSpLocks/>
          </p:cNvCxnSpPr>
          <p:nvPr/>
        </p:nvCxnSpPr>
        <p:spPr bwMode="auto">
          <a:xfrm flipH="1">
            <a:off x="4265038" y="4804474"/>
            <a:ext cx="32246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53A27275-A7E5-98E8-9385-F0B7E8B72596}"/>
              </a:ext>
            </a:extLst>
          </p:cNvPr>
          <p:cNvCxnSpPr/>
          <p:nvPr/>
        </p:nvCxnSpPr>
        <p:spPr bwMode="auto">
          <a:xfrm flipH="1">
            <a:off x="4138047" y="4804474"/>
            <a:ext cx="12699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FD36C2F-3AD7-CB5F-F5F3-A7B0957B34F4}"/>
              </a:ext>
            </a:extLst>
          </p:cNvPr>
          <p:cNvCxnSpPr/>
          <p:nvPr/>
        </p:nvCxnSpPr>
        <p:spPr bwMode="auto">
          <a:xfrm>
            <a:off x="4138047" y="4819973"/>
            <a:ext cx="0" cy="185796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182F7BB-847A-1049-5062-5BA937779BDA}"/>
              </a:ext>
            </a:extLst>
          </p:cNvPr>
          <p:cNvCxnSpPr>
            <a:stCxn id="46" idx="1"/>
          </p:cNvCxnSpPr>
          <p:nvPr/>
        </p:nvCxnSpPr>
        <p:spPr bwMode="auto">
          <a:xfrm flipH="1">
            <a:off x="4138047" y="5554838"/>
            <a:ext cx="19172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1E7C774-BC27-49DF-027D-D0D216A287F3}"/>
              </a:ext>
            </a:extLst>
          </p:cNvPr>
          <p:cNvCxnSpPr>
            <a:cxnSpLocks/>
            <a:stCxn id="47" idx="1"/>
          </p:cNvCxnSpPr>
          <p:nvPr/>
        </p:nvCxnSpPr>
        <p:spPr bwMode="auto">
          <a:xfrm flipH="1">
            <a:off x="4138047" y="6677933"/>
            <a:ext cx="21070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04515519-DF84-AE9B-4CA6-284A0A108679}"/>
              </a:ext>
            </a:extLst>
          </p:cNvPr>
          <p:cNvSpPr/>
          <p:nvPr/>
        </p:nvSpPr>
        <p:spPr>
          <a:xfrm>
            <a:off x="7228713" y="270340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8DCDCD19-720B-47EA-B100-31FCBE70C72E}"/>
              </a:ext>
            </a:extLst>
          </p:cNvPr>
          <p:cNvSpPr/>
          <p:nvPr/>
        </p:nvSpPr>
        <p:spPr>
          <a:xfrm>
            <a:off x="8969115" y="270340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 Grade 6 (Agency)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C8B2052D-6C81-72AF-E848-F061371F9D97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>
            <a:off x="8804909" y="2143620"/>
            <a:ext cx="0" cy="38555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3E6E723-4C82-BA79-0FE4-D904043D9D3E}"/>
              </a:ext>
            </a:extLst>
          </p:cNvPr>
          <p:cNvCxnSpPr/>
          <p:nvPr/>
        </p:nvCxnSpPr>
        <p:spPr bwMode="auto">
          <a:xfrm flipH="1">
            <a:off x="7907321" y="2571207"/>
            <a:ext cx="696109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0CB016B-B044-1626-BA0E-08D3C85D9683}"/>
              </a:ext>
            </a:extLst>
          </p:cNvPr>
          <p:cNvCxnSpPr>
            <a:cxnSpLocks/>
          </p:cNvCxnSpPr>
          <p:nvPr/>
        </p:nvCxnSpPr>
        <p:spPr bwMode="auto">
          <a:xfrm>
            <a:off x="7907321" y="2571207"/>
            <a:ext cx="0" cy="2339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1655E166-ABCE-4FA2-9086-468DDC1BED7E}"/>
              </a:ext>
            </a:extLst>
          </p:cNvPr>
          <p:cNvCxnSpPr/>
          <p:nvPr/>
        </p:nvCxnSpPr>
        <p:spPr bwMode="auto">
          <a:xfrm>
            <a:off x="8603430" y="2571207"/>
            <a:ext cx="112689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3" name="Title 3">
            <a:extLst>
              <a:ext uri="{FF2B5EF4-FFF2-40B4-BE49-F238E27FC236}">
                <a16:creationId xmlns:a16="http://schemas.microsoft.com/office/drawing/2014/main" id="{C122AA2A-64FB-472F-6BB0-48E2AEA5686A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panose="020B0600070205080204" pitchFamily="34" charset="-128"/>
                <a:cs typeface="+mj-cs"/>
              </a:rPr>
              <a:t>PCN Processing Tea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670047-18B4-0D1F-053B-FBDA73A3EECE}"/>
              </a:ext>
            </a:extLst>
          </p:cNvPr>
          <p:cNvSpPr/>
          <p:nvPr/>
        </p:nvSpPr>
        <p:spPr>
          <a:xfrm>
            <a:off x="7216895" y="3779687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Agency cover = NS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A21FCF-448D-E392-A541-D693EE1C8A50}"/>
              </a:ext>
            </a:extLst>
          </p:cNvPr>
          <p:cNvSpPr/>
          <p:nvPr/>
        </p:nvSpPr>
        <p:spPr>
          <a:xfrm>
            <a:off x="8966876" y="3781879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Investig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Agency cover = NS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B5ADAC-83FA-5D3E-8714-623078CEFF08}"/>
              </a:ext>
            </a:extLst>
          </p:cNvPr>
          <p:cNvCxnSpPr>
            <a:cxnSpLocks/>
          </p:cNvCxnSpPr>
          <p:nvPr/>
        </p:nvCxnSpPr>
        <p:spPr bwMode="auto">
          <a:xfrm>
            <a:off x="9705641" y="2533107"/>
            <a:ext cx="0" cy="2339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9288543E-29F2-B2EC-A69F-5661C6BB2361}"/>
              </a:ext>
            </a:extLst>
          </p:cNvPr>
          <p:cNvSpPr/>
          <p:nvPr/>
        </p:nvSpPr>
        <p:spPr>
          <a:xfrm>
            <a:off x="4434206" y="120207"/>
            <a:ext cx="2168475" cy="9762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latin typeface="Arial" pitchFamily="34" charset="0"/>
                <a:cs typeface="Arial" pitchFamily="34" charset="0"/>
              </a:rPr>
              <a:t>Policy Investigation and Performance Manager (Grade 17 budgeted; VACANT)</a:t>
            </a:r>
            <a:endParaRPr lang="en-GB" sz="120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C0C8D829-8EE7-22DC-7B10-EFBF92E199BD}"/>
              </a:ext>
            </a:extLst>
          </p:cNvPr>
          <p:cNvCxnSpPr>
            <a:stCxn id="20" idx="2"/>
            <a:endCxn id="2" idx="3"/>
          </p:cNvCxnSpPr>
          <p:nvPr/>
        </p:nvCxnSpPr>
        <p:spPr bwMode="auto">
          <a:xfrm rot="5400000">
            <a:off x="3830084" y="-21760"/>
            <a:ext cx="570181" cy="2806541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72CEDCCC-43C1-F151-0415-61325C6E2607}"/>
              </a:ext>
            </a:extLst>
          </p:cNvPr>
          <p:cNvCxnSpPr>
            <a:stCxn id="20" idx="2"/>
            <a:endCxn id="6" idx="1"/>
          </p:cNvCxnSpPr>
          <p:nvPr/>
        </p:nvCxnSpPr>
        <p:spPr bwMode="auto">
          <a:xfrm rot="16200000" flipH="1">
            <a:off x="6549546" y="65318"/>
            <a:ext cx="528153" cy="2590356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48564B65-6072-7BC8-5BE1-7A97A4F6E139}"/>
              </a:ext>
            </a:extLst>
          </p:cNvPr>
          <p:cNvCxnSpPr>
            <a:stCxn id="20" idx="2"/>
          </p:cNvCxnSpPr>
          <p:nvPr/>
        </p:nvCxnSpPr>
        <p:spPr bwMode="auto">
          <a:xfrm rot="5400000">
            <a:off x="4335720" y="2279144"/>
            <a:ext cx="2365448" cy="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63232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825F22-851E-B012-FEF8-08394DAC2867}"/>
              </a:ext>
            </a:extLst>
          </p:cNvPr>
          <p:cNvSpPr/>
          <p:nvPr/>
        </p:nvSpPr>
        <p:spPr>
          <a:xfrm>
            <a:off x="3444109" y="779188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Permits, School Streets &amp; PCN Admin Support Manager 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4D2C7-AF7A-E449-55C1-BF6B9F89D9EB}"/>
              </a:ext>
            </a:extLst>
          </p:cNvPr>
          <p:cNvCxnSpPr>
            <a:stCxn id="5" idx="2"/>
          </p:cNvCxnSpPr>
          <p:nvPr/>
        </p:nvCxnSpPr>
        <p:spPr bwMode="auto">
          <a:xfrm>
            <a:off x="4961274" y="1641063"/>
            <a:ext cx="0" cy="381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17FBD14-8282-F615-BD9B-1C84830956A7}"/>
              </a:ext>
            </a:extLst>
          </p:cNvPr>
          <p:cNvCxnSpPr>
            <a:cxnSpLocks/>
          </p:cNvCxnSpPr>
          <p:nvPr/>
        </p:nvCxnSpPr>
        <p:spPr bwMode="auto">
          <a:xfrm>
            <a:off x="2393477" y="2783250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4A357CA-C651-A219-2561-326F49CC3760}"/>
              </a:ext>
            </a:extLst>
          </p:cNvPr>
          <p:cNvSpPr/>
          <p:nvPr/>
        </p:nvSpPr>
        <p:spPr>
          <a:xfrm>
            <a:off x="2751947" y="2195131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08" name="Title 3">
            <a:extLst>
              <a:ext uri="{FF2B5EF4-FFF2-40B4-BE49-F238E27FC236}">
                <a16:creationId xmlns:a16="http://schemas.microsoft.com/office/drawing/2014/main" id="{7829C25F-1E11-7CFA-2370-1AB6937DF218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panose="020B0600070205080204" pitchFamily="34" charset="-128"/>
                <a:cs typeface="+mj-cs"/>
              </a:rPr>
              <a:t>Parking Permits &amp; Admin Suppor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2648B08-3465-26FD-3E96-E1CD1C960D2C}"/>
              </a:ext>
            </a:extLst>
          </p:cNvPr>
          <p:cNvSpPr/>
          <p:nvPr/>
        </p:nvSpPr>
        <p:spPr>
          <a:xfrm>
            <a:off x="2751947" y="3108375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5448F77-DD28-6814-9A95-1A606FE134BC}"/>
              </a:ext>
            </a:extLst>
          </p:cNvPr>
          <p:cNvSpPr/>
          <p:nvPr/>
        </p:nvSpPr>
        <p:spPr>
          <a:xfrm>
            <a:off x="2751947" y="4038146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987A8F-FFFC-2DBD-C77A-20ABFAFFBA2D}"/>
              </a:ext>
            </a:extLst>
          </p:cNvPr>
          <p:cNvSpPr/>
          <p:nvPr/>
        </p:nvSpPr>
        <p:spPr>
          <a:xfrm>
            <a:off x="2751947" y="4967917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BC7322-64CC-AACC-6333-0B342B6CFFB8}"/>
              </a:ext>
            </a:extLst>
          </p:cNvPr>
          <p:cNvSpPr/>
          <p:nvPr/>
        </p:nvSpPr>
        <p:spPr>
          <a:xfrm>
            <a:off x="2751947" y="5909592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9716C93-188A-7FD8-4C57-7ED3AB0FF912}"/>
              </a:ext>
            </a:extLst>
          </p:cNvPr>
          <p:cNvSpPr/>
          <p:nvPr/>
        </p:nvSpPr>
        <p:spPr>
          <a:xfrm>
            <a:off x="6031000" y="2189375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75B80C3-7B69-9101-9930-43812534E045}"/>
              </a:ext>
            </a:extLst>
          </p:cNvPr>
          <p:cNvSpPr/>
          <p:nvPr/>
        </p:nvSpPr>
        <p:spPr>
          <a:xfrm>
            <a:off x="6030999" y="3108374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039E151-0017-48FA-E1AE-7D5C9FE17F50}"/>
              </a:ext>
            </a:extLst>
          </p:cNvPr>
          <p:cNvSpPr/>
          <p:nvPr/>
        </p:nvSpPr>
        <p:spPr>
          <a:xfrm>
            <a:off x="6037733" y="4046859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 (Agency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AEE472-D7FA-D2F2-3418-ECBF5D0E92F7}"/>
              </a:ext>
            </a:extLst>
          </p:cNvPr>
          <p:cNvSpPr/>
          <p:nvPr/>
        </p:nvSpPr>
        <p:spPr>
          <a:xfrm>
            <a:off x="6030998" y="4985344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 (Agency)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9ADDB42-32BC-5DAF-D9C2-D84868D6838E}"/>
              </a:ext>
            </a:extLst>
          </p:cNvPr>
          <p:cNvSpPr/>
          <p:nvPr/>
        </p:nvSpPr>
        <p:spPr>
          <a:xfrm>
            <a:off x="6030997" y="5909592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 (Agency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27E2CD7-89BF-DCB1-9D8C-8D1EE366F71E}"/>
              </a:ext>
            </a:extLst>
          </p:cNvPr>
          <p:cNvSpPr/>
          <p:nvPr/>
        </p:nvSpPr>
        <p:spPr>
          <a:xfrm>
            <a:off x="4411693" y="2189375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42F229A-6540-9145-4875-0152353B9D99}"/>
              </a:ext>
            </a:extLst>
          </p:cNvPr>
          <p:cNvSpPr/>
          <p:nvPr/>
        </p:nvSpPr>
        <p:spPr>
          <a:xfrm>
            <a:off x="4411693" y="3108373"/>
            <a:ext cx="1142849" cy="8848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ermit &amp;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5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0BAE219-DBB3-DCFF-0F0E-11ABAD6D18BB}"/>
              </a:ext>
            </a:extLst>
          </p:cNvPr>
          <p:cNvCxnSpPr>
            <a:cxnSpLocks/>
          </p:cNvCxnSpPr>
          <p:nvPr/>
        </p:nvCxnSpPr>
        <p:spPr bwMode="auto">
          <a:xfrm flipH="1">
            <a:off x="2386739" y="2011749"/>
            <a:ext cx="269852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4907052-B778-505F-E831-01590997C4E6}"/>
              </a:ext>
            </a:extLst>
          </p:cNvPr>
          <p:cNvCxnSpPr>
            <a:cxnSpLocks/>
          </p:cNvCxnSpPr>
          <p:nvPr/>
        </p:nvCxnSpPr>
        <p:spPr bwMode="auto">
          <a:xfrm>
            <a:off x="5085260" y="2011749"/>
            <a:ext cx="232293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AC8230E-9813-3F4D-C915-9949C3C4F526}"/>
              </a:ext>
            </a:extLst>
          </p:cNvPr>
          <p:cNvCxnSpPr>
            <a:cxnSpLocks/>
          </p:cNvCxnSpPr>
          <p:nvPr/>
        </p:nvCxnSpPr>
        <p:spPr bwMode="auto">
          <a:xfrm>
            <a:off x="7423688" y="2011749"/>
            <a:ext cx="0" cy="43402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0577A38-4001-4877-87B5-01D43CA53FB0}"/>
              </a:ext>
            </a:extLst>
          </p:cNvPr>
          <p:cNvCxnSpPr/>
          <p:nvPr/>
        </p:nvCxnSpPr>
        <p:spPr bwMode="auto">
          <a:xfrm>
            <a:off x="2386739" y="2011749"/>
            <a:ext cx="0" cy="43402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7CE5BB8-2A3A-6444-0D6F-0C5CD0CA968A}"/>
              </a:ext>
            </a:extLst>
          </p:cNvPr>
          <p:cNvCxnSpPr>
            <a:stCxn id="21" idx="3"/>
          </p:cNvCxnSpPr>
          <p:nvPr/>
        </p:nvCxnSpPr>
        <p:spPr bwMode="auto">
          <a:xfrm flipV="1">
            <a:off x="7173849" y="2631781"/>
            <a:ext cx="249839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C00E63B-8377-AA0B-698C-48F1B298D5AE}"/>
              </a:ext>
            </a:extLst>
          </p:cNvPr>
          <p:cNvCxnSpPr>
            <a:stCxn id="22" idx="3"/>
          </p:cNvCxnSpPr>
          <p:nvPr/>
        </p:nvCxnSpPr>
        <p:spPr bwMode="auto">
          <a:xfrm flipV="1">
            <a:off x="7173848" y="3550779"/>
            <a:ext cx="234342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C31A88E-C317-CB71-D4A9-3E6CEE52AACA}"/>
              </a:ext>
            </a:extLst>
          </p:cNvPr>
          <p:cNvCxnSpPr>
            <a:stCxn id="24" idx="3"/>
          </p:cNvCxnSpPr>
          <p:nvPr/>
        </p:nvCxnSpPr>
        <p:spPr bwMode="auto">
          <a:xfrm flipV="1">
            <a:off x="7180582" y="4480552"/>
            <a:ext cx="243106" cy="871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DFDB36BF-B2A3-4700-A785-CA1E01D0F2D9}"/>
              </a:ext>
            </a:extLst>
          </p:cNvPr>
          <p:cNvCxnSpPr>
            <a:stCxn id="25" idx="3"/>
          </p:cNvCxnSpPr>
          <p:nvPr/>
        </p:nvCxnSpPr>
        <p:spPr bwMode="auto">
          <a:xfrm flipV="1">
            <a:off x="7173847" y="5427750"/>
            <a:ext cx="234343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ACDB223-8BA6-6CF4-C244-68ED10F85398}"/>
              </a:ext>
            </a:extLst>
          </p:cNvPr>
          <p:cNvCxnSpPr>
            <a:stCxn id="27" idx="3"/>
          </p:cNvCxnSpPr>
          <p:nvPr/>
        </p:nvCxnSpPr>
        <p:spPr bwMode="auto">
          <a:xfrm flipV="1">
            <a:off x="7173846" y="6351998"/>
            <a:ext cx="249842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43394E8-11B8-C32C-A440-F78640DEB5AB}"/>
              </a:ext>
            </a:extLst>
          </p:cNvPr>
          <p:cNvCxnSpPr>
            <a:stCxn id="11" idx="1"/>
          </p:cNvCxnSpPr>
          <p:nvPr/>
        </p:nvCxnSpPr>
        <p:spPr bwMode="auto">
          <a:xfrm flipH="1" flipV="1">
            <a:off x="2371241" y="2631781"/>
            <a:ext cx="380706" cy="575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F014D9B-FF89-B89F-78CE-2A31DB649BE3}"/>
              </a:ext>
            </a:extLst>
          </p:cNvPr>
          <p:cNvCxnSpPr>
            <a:stCxn id="6" idx="1"/>
          </p:cNvCxnSpPr>
          <p:nvPr/>
        </p:nvCxnSpPr>
        <p:spPr bwMode="auto">
          <a:xfrm flipH="1" flipV="1">
            <a:off x="2386739" y="3550779"/>
            <a:ext cx="365208" cy="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60B934F-1DFC-0915-6DE3-3726AF45A4E1}"/>
              </a:ext>
            </a:extLst>
          </p:cNvPr>
          <p:cNvCxnSpPr>
            <a:stCxn id="12" idx="1"/>
          </p:cNvCxnSpPr>
          <p:nvPr/>
        </p:nvCxnSpPr>
        <p:spPr bwMode="auto">
          <a:xfrm flipH="1">
            <a:off x="2402238" y="4480553"/>
            <a:ext cx="349709" cy="87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985C8C8-2477-56D8-D2B3-C834BCA66960}"/>
              </a:ext>
            </a:extLst>
          </p:cNvPr>
          <p:cNvCxnSpPr>
            <a:stCxn id="16" idx="1"/>
          </p:cNvCxnSpPr>
          <p:nvPr/>
        </p:nvCxnSpPr>
        <p:spPr bwMode="auto">
          <a:xfrm flipH="1" flipV="1">
            <a:off x="2402238" y="5410323"/>
            <a:ext cx="349709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FC6135EA-2148-94B3-9CA2-8D2CA46FD8C4}"/>
              </a:ext>
            </a:extLst>
          </p:cNvPr>
          <p:cNvCxnSpPr>
            <a:stCxn id="20" idx="1"/>
          </p:cNvCxnSpPr>
          <p:nvPr/>
        </p:nvCxnSpPr>
        <p:spPr bwMode="auto">
          <a:xfrm flipH="1" flipV="1">
            <a:off x="2371241" y="6351998"/>
            <a:ext cx="380706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51D0EE4-44D3-7781-2120-ACEFBF695844}"/>
              </a:ext>
            </a:extLst>
          </p:cNvPr>
          <p:cNvCxnSpPr/>
          <p:nvPr/>
        </p:nvCxnSpPr>
        <p:spPr bwMode="auto">
          <a:xfrm>
            <a:off x="4138863" y="2022492"/>
            <a:ext cx="0" cy="15282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2817524-54F2-50EF-914B-466F73E2FCBE}"/>
              </a:ext>
            </a:extLst>
          </p:cNvPr>
          <p:cNvCxnSpPr>
            <a:stCxn id="31" idx="1"/>
          </p:cNvCxnSpPr>
          <p:nvPr/>
        </p:nvCxnSpPr>
        <p:spPr bwMode="auto">
          <a:xfrm flipH="1" flipV="1">
            <a:off x="4138863" y="3550779"/>
            <a:ext cx="272830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7DF88F71-0D77-D721-4D89-7BDB70F07E4A}"/>
              </a:ext>
            </a:extLst>
          </p:cNvPr>
          <p:cNvCxnSpPr>
            <a:stCxn id="29" idx="1"/>
          </p:cNvCxnSpPr>
          <p:nvPr/>
        </p:nvCxnSpPr>
        <p:spPr bwMode="auto">
          <a:xfrm flipH="1" flipV="1">
            <a:off x="4138863" y="2631781"/>
            <a:ext cx="272830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EAE68FB5-1D17-ADDC-95DD-99458BB8700C}"/>
              </a:ext>
            </a:extLst>
          </p:cNvPr>
          <p:cNvSpPr/>
          <p:nvPr/>
        </p:nvSpPr>
        <p:spPr>
          <a:xfrm>
            <a:off x="3444109" y="88776"/>
            <a:ext cx="3034330" cy="605308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latin typeface="Arial" pitchFamily="34" charset="0"/>
                <a:cs typeface="Arial" pitchFamily="34" charset="0"/>
              </a:rPr>
              <a:t>Policy Investigation and Performance Manager (Grade 17 budgeted; VACANT)</a:t>
            </a:r>
            <a:endParaRPr lang="en-GB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D5484-7BA2-9F9F-26EF-B90BC55E71F3}"/>
              </a:ext>
            </a:extLst>
          </p:cNvPr>
          <p:cNvSpPr/>
          <p:nvPr/>
        </p:nvSpPr>
        <p:spPr>
          <a:xfrm>
            <a:off x="6705469" y="771170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Permits, School Streets &amp; PCN Admin Support Manager 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rade 10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(Vacant)</a:t>
            </a:r>
          </a:p>
        </p:txBody>
      </p:sp>
    </p:spTree>
    <p:extLst>
      <p:ext uri="{BB962C8B-B14F-4D97-AF65-F5344CB8AC3E}">
        <p14:creationId xmlns:p14="http://schemas.microsoft.com/office/powerpoint/2010/main" val="727127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6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6CF5B59DC21949B02D94CD70721762" ma:contentTypeVersion="13" ma:contentTypeDescription="Create a new document." ma:contentTypeScope="" ma:versionID="95e15e476a53aa93c23ab9ddfc78b148">
  <xsd:schema xmlns:xsd="http://www.w3.org/2001/XMLSchema" xmlns:xs="http://www.w3.org/2001/XMLSchema" xmlns:p="http://schemas.microsoft.com/office/2006/metadata/properties" xmlns:ns2="f2b78acb-a125-42ee-931d-35b42eaca4cf" xmlns:ns3="bd53f985-a00b-4557-8c1b-354272913df9" xmlns:ns4="317462e6-704c-4460-ad36-73f1c33138d3" targetNamespace="http://schemas.microsoft.com/office/2006/metadata/properties" ma:root="true" ma:fieldsID="1958c7001dbb061489cbe3646ec4ea05" ns2:_="" ns3:_="" ns4:_="">
    <xsd:import namespace="f2b78acb-a125-42ee-931d-35b42eaca4cf"/>
    <xsd:import namespace="bd53f985-a00b-4557-8c1b-354272913df9"/>
    <xsd:import namespace="317462e6-704c-4460-ad36-73f1c33138d3"/>
    <xsd:element name="properties">
      <xsd:complexType>
        <xsd:sequence>
          <xsd:element name="documentManagement">
            <xsd:complexType>
              <xsd:all>
                <xsd:element ref="ns2:Document_x0020_Description" minOccurs="0"/>
                <xsd:element ref="ns2:DocumentAuthor" minOccurs="0"/>
                <xsd:element ref="ns2:ProtectiveClassification" minOccurs="0"/>
                <xsd:element ref="ns2:febcb389c47c4530afe6acfa103de16c" minOccurs="0"/>
                <xsd:element ref="ns2:TaxCatchAll" minOccurs="0"/>
                <xsd:element ref="ns2:TaxCatchAllLabel" minOccurs="0"/>
                <xsd:element ref="ns2:l1c2f45cb913413195fefa0ed1a24d84" minOccurs="0"/>
                <xsd:element ref="ns2:TaxKeywordTaxHTField" minOccurs="0"/>
                <xsd:element ref="ns3:MediaServiceKeyPoint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4:SharedWithUsers" minOccurs="0"/>
                <xsd:element ref="ns4:SharedWithDetails" minOccurs="0"/>
                <xsd:element ref="ns3:lcf76f155ced4ddcb4097134ff3c332f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b78acb-a125-42ee-931d-35b42eaca4cf" elementFormDefault="qualified">
    <xsd:import namespace="http://schemas.microsoft.com/office/2006/documentManagement/types"/>
    <xsd:import namespace="http://schemas.microsoft.com/office/infopath/2007/PartnerControls"/>
    <xsd:element name="Document_x0020_Description" ma:index="8" nillable="true" ma:displayName="Document Description" ma:internalName="Document_x0020_Description">
      <xsd:simpleType>
        <xsd:restriction base="dms:Note">
          <xsd:maxLength value="255"/>
        </xsd:restriction>
      </xsd:simpleType>
    </xsd:element>
    <xsd:element name="DocumentAuthor" ma:index="9" nillable="true" ma:displayName="Primary Contact" ma:list="UserInfo" ma:SearchPeopleOnly="false" ma:SharePointGroup="0" ma:internalName="Document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rotectiveClassification" ma:index="10" nillable="true" ma:displayName="Protective Marking" ma:default="NOT CLASSIFIED" ma:description="Protective Marking scheme for LBC is being reviewed and will be available at a later date. NOT CLASSIFIED means that no Protective Marking decision has been made." ma:format="Dropdown" ma:internalName="ProtectiveClassification">
      <xsd:simpleType>
        <xsd:restriction base="dms:Choice">
          <xsd:enumeration value="NOT CLASSIFIED"/>
        </xsd:restriction>
      </xsd:simpleType>
    </xsd:element>
    <xsd:element name="febcb389c47c4530afe6acfa103de16c" ma:index="11" nillable="true" ma:taxonomy="true" ma:internalName="febcb389c47c4530afe6acfa103de16c" ma:taxonomyFieldName="OrganisationalUnit" ma:displayName="Organisational Unit" ma:default="" ma:fieldId="{febcb389-c47c-4530-afe6-acfa103de16c}" ma:sspId="c265c3e7-f7ae-4ea0-b3f5-7c0024770d98" ma:termSetId="21787c9d-e40d-4e47-be76-3b424c150f9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hidden="true" ma:list="{086023e3-225c-4ce8-bc15-43625d3d097d}" ma:internalName="TaxCatchAll" ma:showField="CatchAllData" ma:web="317462e6-704c-4460-ad36-73f1c33138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086023e3-225c-4ce8-bc15-43625d3d097d}" ma:internalName="TaxCatchAllLabel" ma:readOnly="true" ma:showField="CatchAllDataLabel" ma:web="317462e6-704c-4460-ad36-73f1c33138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1c2f45cb913413195fefa0ed1a24d84" ma:index="15" nillable="true" ma:taxonomy="true" ma:internalName="l1c2f45cb913413195fefa0ed1a24d84" ma:taxonomyFieldName="Activity" ma:displayName="Activity" ma:fieldId="{51c2f45c-b913-4131-95fe-fa0ed1a24d84}" ma:sspId="c265c3e7-f7ae-4ea0-b3f5-7c0024770d98" ma:termSetId="753275df-fc85-4ec7-8f6d-defd1dbad5d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17" nillable="true" ma:taxonomy="true" ma:internalName="TaxKeywordTaxHTField" ma:taxonomyFieldName="TaxKeyword" ma:displayName="Enterprise Keywords" ma:fieldId="{23f27201-bee3-471e-b2e7-b64fd8b7ca38}" ma:taxonomyMulti="true" ma:sspId="c265c3e7-f7ae-4ea0-b3f5-7c0024770d9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3f985-a00b-4557-8c1b-354272913df9" elementFormDefault="qualified">
    <xsd:import namespace="http://schemas.microsoft.com/office/2006/documentManagement/types"/>
    <xsd:import namespace="http://schemas.microsoft.com/office/infopath/2007/PartnerControls"/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Metadata" ma:index="2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c265c3e7-f7ae-4ea0-b3f5-7c0024770d9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3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7462e6-704c-4460-ad36-73f1c33138d3" elementFormDefault="qualified">
    <xsd:import namespace="http://schemas.microsoft.com/office/2006/documentManagement/types"/>
    <xsd:import namespace="http://schemas.microsoft.com/office/infopath/2007/PartnerControls"/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12BCA384B5074CB2E2D04244552AF8" ma:contentTypeVersion="19" ma:contentTypeDescription="Create a new document." ma:contentTypeScope="" ma:versionID="a9a41a1fc0994881fbb11a1b179e9aa0">
  <xsd:schema xmlns:xsd="http://www.w3.org/2001/XMLSchema" xmlns:xs="http://www.w3.org/2001/XMLSchema" xmlns:p="http://schemas.microsoft.com/office/2006/metadata/properties" xmlns:ns1="http://schemas.microsoft.com/sharepoint/v3" xmlns:ns2="9c58e57b-b88b-4702-a373-220b4f5d47a9" xmlns:ns3="456d6118-be85-422f-b786-2ccd9d775758" targetNamespace="http://schemas.microsoft.com/office/2006/metadata/properties" ma:root="true" ma:fieldsID="7887795ac34fca4d05ae0968f9a33295" ns1:_="" ns2:_="" ns3:_="">
    <xsd:import namespace="http://schemas.microsoft.com/sharepoint/v3"/>
    <xsd:import namespace="9c58e57b-b88b-4702-a373-220b4f5d47a9"/>
    <xsd:import namespace="456d6118-be85-422f-b786-2ccd9d77575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SearchProperties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58e57b-b88b-4702-a373-220b4f5d47a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14334e8-6e35-4c86-b27f-50e4dea68236}" ma:internalName="TaxCatchAll" ma:showField="CatchAllData" ma:web="9c58e57b-b88b-4702-a373-220b4f5d47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6d6118-be85-422f-b786-2ccd9d7757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542bb1f3-1a38-47a3-907d-1ed3ec3ebfa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LongProperties xmlns="http://schemas.microsoft.com/office/2006/metadata/longProperties"/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c58e57b-b88b-4702-a373-220b4f5d47a9" xsi:nil="true"/>
    <SharedWithUsers xmlns="9c58e57b-b88b-4702-a373-220b4f5d47a9">
      <UserInfo>
        <DisplayName>Williams, Neil</DisplayName>
        <AccountId>74</AccountId>
        <AccountType/>
      </UserInfo>
      <UserInfo>
        <DisplayName>Wheeler, Julie</DisplayName>
        <AccountId>57</AccountId>
        <AccountType/>
      </UserInfo>
    </SharedWithUsers>
    <lcf76f155ced4ddcb4097134ff3c332f xmlns="456d6118-be85-422f-b786-2ccd9d775758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CDC21AD-8803-4551-BDFF-9AA059477C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0F9ED4-3AEB-49F6-B60F-85E9FB862A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b78acb-a125-42ee-931d-35b42eaca4cf"/>
    <ds:schemaRef ds:uri="bd53f985-a00b-4557-8c1b-354272913df9"/>
    <ds:schemaRef ds:uri="317462e6-704c-4460-ad36-73f1c33138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48EDC5-C9D3-478C-AEC1-D0F83485F6EC}"/>
</file>

<file path=customXml/itemProps4.xml><?xml version="1.0" encoding="utf-8"?>
<ds:datastoreItem xmlns:ds="http://schemas.openxmlformats.org/officeDocument/2006/customXml" ds:itemID="{7AA4F4D6-7353-49B9-BEA5-E09E46F87D4E}">
  <ds:schemaRefs>
    <ds:schemaRef ds:uri="http://schemas.microsoft.com/office/2006/metadata/longProperties"/>
  </ds:schemaRefs>
</ds:datastoreItem>
</file>

<file path=customXml/itemProps5.xml><?xml version="1.0" encoding="utf-8"?>
<ds:datastoreItem xmlns:ds="http://schemas.openxmlformats.org/officeDocument/2006/customXml" ds:itemID="{37DBBA2C-E956-48CB-AB22-AD824CD2E562}">
  <ds:schemaRefs>
    <ds:schemaRef ds:uri="http://schemas.microsoft.com/office/2006/documentManagement/types"/>
    <ds:schemaRef ds:uri="http://schemas.microsoft.com/sharepoint/v4"/>
    <ds:schemaRef ds:uri="ef665293-1e59-4d70-8213-b37c1781a5ef"/>
    <ds:schemaRef ds:uri="addf6e6b-2369-4b51-a41a-ba2e525e3de3"/>
    <ds:schemaRef ds:uri="http://purl.org/dc/elements/1.1/"/>
    <ds:schemaRef ds:uri="f2b78acb-a125-42ee-931d-35b42eaca4cf"/>
    <ds:schemaRef ds:uri="bc4d49db-3e23-4be7-925f-f4dc43e30c10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dcmitype/"/>
    <ds:schemaRef ds:uri="$ListId:Documents;"/>
    <ds:schemaRef ds:uri="http://www.w3.org/XML/1998/namespace"/>
    <ds:schemaRef ds:uri="http://purl.org/dc/terms/"/>
    <ds:schemaRef ds:uri="317462e6-704c-4460-ad36-73f1c33138d3"/>
    <ds:schemaRef ds:uri="bd53f985-a00b-4557-8c1b-354272913df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445</TotalTime>
  <Words>522</Words>
  <Application>Microsoft Office PowerPoint</Application>
  <PresentationFormat>Custom</PresentationFormat>
  <Paragraphs>342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ＭＳ Ｐゴシック</vt:lpstr>
      <vt:lpstr>Arial</vt:lpstr>
      <vt:lpstr>Calibri</vt:lpstr>
      <vt:lpstr>Times</vt:lpstr>
      <vt:lpstr>ヒラギノ角ゴ Pro W3</vt:lpstr>
      <vt:lpstr>26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731-00319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T Structure</dc:title>
  <dc:creator>BILL MCCLEAN</dc:creator>
  <cp:keywords/>
  <cp:lastModifiedBy>Winspear, Simon</cp:lastModifiedBy>
  <cp:revision>170</cp:revision>
  <cp:lastPrinted>2024-06-12T09:14:05Z</cp:lastPrinted>
  <dcterms:created xsi:type="dcterms:W3CDTF">2010-06-21T16:36:04Z</dcterms:created>
  <dcterms:modified xsi:type="dcterms:W3CDTF">2024-09-02T09:1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ganisationalUnit">
    <vt:lpwstr>437;#Resources|5cb24046-c950-49c1-817b-99d8460d71f9</vt:lpwstr>
  </property>
  <property fmtid="{D5CDD505-2E9C-101B-9397-08002B2CF9AE}" pid="3" name="TaxKeyword">
    <vt:lpwstr/>
  </property>
  <property fmtid="{D5CDD505-2E9C-101B-9397-08002B2CF9AE}" pid="4" name="ProtectiveClassification">
    <vt:lpwstr>NOT CLASSIFIED</vt:lpwstr>
  </property>
  <property fmtid="{D5CDD505-2E9C-101B-9397-08002B2CF9AE}" pid="5" name="display_urn:schemas-microsoft-com:office:office#DocumentAuthor">
    <vt:lpwstr>Conroy, Danny</vt:lpwstr>
  </property>
  <property fmtid="{D5CDD505-2E9C-101B-9397-08002B2CF9AE}" pid="6" name="ContentTypeId">
    <vt:lpwstr>0x0101008A12BCA384B5074CB2E2D04244552AF8</vt:lpwstr>
  </property>
  <property fmtid="{D5CDD505-2E9C-101B-9397-08002B2CF9AE}" pid="7" name="MSTopic">
    <vt:lpwstr>95;#Structure Charts|acc4fb8c-0e07-4f4d-94ac-a21fe9c8c95b</vt:lpwstr>
  </property>
  <property fmtid="{D5CDD505-2E9C-101B-9397-08002B2CF9AE}" pid="8" name="Document Description">
    <vt:lpwstr>ELT Structure</vt:lpwstr>
  </property>
  <property fmtid="{D5CDD505-2E9C-101B-9397-08002B2CF9AE}" pid="9" name="Activity">
    <vt:lpwstr/>
  </property>
  <property fmtid="{D5CDD505-2E9C-101B-9397-08002B2CF9AE}" pid="10" name="l1c2f45cb913413195fefa0ed1a24d84">
    <vt:lpwstr/>
  </property>
  <property fmtid="{D5CDD505-2E9C-101B-9397-08002B2CF9AE}" pid="11" name="MS Topic">
    <vt:lpwstr>126;#Structure Chart|24ffb3ba-7a7e-451f-b012-84272a8dfc8e</vt:lpwstr>
  </property>
  <property fmtid="{D5CDD505-2E9C-101B-9397-08002B2CF9AE}" pid="12" name="MediaServiceImageTags">
    <vt:lpwstr/>
  </property>
</Properties>
</file>